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Lst>
  <p:notesMasterIdLst>
    <p:notesMasterId r:id="rId51"/>
  </p:notesMasterIdLst>
  <p:sldIdLst>
    <p:sldId id="256" r:id="rId5"/>
    <p:sldId id="349" r:id="rId6"/>
    <p:sldId id="257" r:id="rId7"/>
    <p:sldId id="838841236" r:id="rId8"/>
    <p:sldId id="5117" r:id="rId9"/>
    <p:sldId id="838841237" r:id="rId10"/>
    <p:sldId id="838841305" r:id="rId11"/>
    <p:sldId id="838841195" r:id="rId12"/>
    <p:sldId id="838841189" r:id="rId13"/>
    <p:sldId id="838841208" r:id="rId14"/>
    <p:sldId id="838841192" r:id="rId15"/>
    <p:sldId id="838841205" r:id="rId16"/>
    <p:sldId id="838841197" r:id="rId17"/>
    <p:sldId id="838841170" r:id="rId18"/>
    <p:sldId id="838841171" r:id="rId19"/>
    <p:sldId id="838841180" r:id="rId20"/>
    <p:sldId id="838841214" r:id="rId21"/>
    <p:sldId id="838841217" r:id="rId22"/>
    <p:sldId id="838841216" r:id="rId23"/>
    <p:sldId id="838841215" r:id="rId24"/>
    <p:sldId id="838841209" r:id="rId25"/>
    <p:sldId id="838841210" r:id="rId26"/>
    <p:sldId id="838841181" r:id="rId27"/>
    <p:sldId id="838841211" r:id="rId28"/>
    <p:sldId id="838841218" r:id="rId29"/>
    <p:sldId id="838841219" r:id="rId30"/>
    <p:sldId id="838841220" r:id="rId31"/>
    <p:sldId id="838841221" r:id="rId32"/>
    <p:sldId id="838841212" r:id="rId33"/>
    <p:sldId id="838841222" r:id="rId34"/>
    <p:sldId id="838841224" r:id="rId35"/>
    <p:sldId id="838841213" r:id="rId36"/>
    <p:sldId id="838841199" r:id="rId37"/>
    <p:sldId id="264" r:id="rId38"/>
    <p:sldId id="838841223" r:id="rId39"/>
    <p:sldId id="838841225" r:id="rId40"/>
    <p:sldId id="838841226" r:id="rId41"/>
    <p:sldId id="838841234" r:id="rId42"/>
    <p:sldId id="838841229" r:id="rId43"/>
    <p:sldId id="838841186" r:id="rId44"/>
    <p:sldId id="838841231" r:id="rId45"/>
    <p:sldId id="838841232" r:id="rId46"/>
    <p:sldId id="838841233" r:id="rId47"/>
    <p:sldId id="838841238" r:id="rId48"/>
    <p:sldId id="260" r:id="rId49"/>
    <p:sldId id="261" r:id="rId50"/>
  </p:sldIdLst>
  <p:sldSz cx="12192000" cy="6858000"/>
  <p:notesSz cx="6858000" cy="91440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4E93262-8E67-8201-43B0-18E4C81CE750}" name="Laracuente, Antonio J" initials="LJ" userId="S::antonio.laracuente03@va.gov::f26025aa-017e-46da-97dd-4f9d498fb15b" providerId="AD"/>
  <p188:author id="{264D0E65-5A2E-1E12-2954-A61E3B0EE5BF}" name="Points, Kari" initials="PK" userId="S::Kari.Points@va.gov::d3d08481-d9e7-4f0b-8844-65fed6518596" providerId="AD"/>
  <p188:author id="{A4F754DA-B2C4-C695-EC82-8C721E0F92A2}" name="Berlow, Jason" initials="BJ" userId="S::Jason.Berlow@va.gov::2ca71643-eff5-4d67-b81e-ca1c03f44d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oints, Kari" initials="PK" lastIdx="5" clrIdx="0">
    <p:extLst>
      <p:ext uri="{19B8F6BF-5375-455C-9EA6-DF929625EA0E}">
        <p15:presenceInfo xmlns:p15="http://schemas.microsoft.com/office/powerpoint/2012/main" userId="S::Kari.Points@va.gov::d3d08481-d9e7-4f0b-8844-65fed651859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21B998-65FE-A6A4-3B39-3D43AE3A1DD3}" v="2" dt="2022-12-07T19:34:39.037"/>
    <p1510:client id="{A6F123E1-8F12-43EF-BF96-E3752BBFD84F}" v="4" dt="2022-12-07T19:59:45.1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gs" Target="tags/tag1.xml"/><Relationship Id="rId60"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racuente, Antonio J" userId="f26025aa-017e-46da-97dd-4f9d498fb15b" providerId="ADAL" clId="{A6F123E1-8F12-43EF-BF96-E3752BBFD84F}"/>
    <pc:docChg chg="undo custSel addSld delSld modSld">
      <pc:chgData name="Laracuente, Antonio J" userId="f26025aa-017e-46da-97dd-4f9d498fb15b" providerId="ADAL" clId="{A6F123E1-8F12-43EF-BF96-E3752BBFD84F}" dt="2022-12-07T19:59:45.114" v="5023" actId="20577"/>
      <pc:docMkLst>
        <pc:docMk/>
      </pc:docMkLst>
      <pc:sldChg chg="modSp mod">
        <pc:chgData name="Laracuente, Antonio J" userId="f26025aa-017e-46da-97dd-4f9d498fb15b" providerId="ADAL" clId="{A6F123E1-8F12-43EF-BF96-E3752BBFD84F}" dt="2022-12-01T10:43:15.978" v="65" actId="20577"/>
        <pc:sldMkLst>
          <pc:docMk/>
          <pc:sldMk cId="2240003729" sldId="256"/>
        </pc:sldMkLst>
        <pc:spChg chg="mod">
          <ac:chgData name="Laracuente, Antonio J" userId="f26025aa-017e-46da-97dd-4f9d498fb15b" providerId="ADAL" clId="{A6F123E1-8F12-43EF-BF96-E3752BBFD84F}" dt="2022-12-01T10:43:04.943" v="54" actId="20577"/>
          <ac:spMkLst>
            <pc:docMk/>
            <pc:sldMk cId="2240003729" sldId="256"/>
            <ac:spMk id="3" creationId="{55C8F484-6B8B-49B7-BAA2-C5FBA584D1C0}"/>
          </ac:spMkLst>
        </pc:spChg>
        <pc:spChg chg="mod">
          <ac:chgData name="Laracuente, Antonio J" userId="f26025aa-017e-46da-97dd-4f9d498fb15b" providerId="ADAL" clId="{A6F123E1-8F12-43EF-BF96-E3752BBFD84F}" dt="2022-12-01T10:43:15.978" v="65" actId="20577"/>
          <ac:spMkLst>
            <pc:docMk/>
            <pc:sldMk cId="2240003729" sldId="256"/>
            <ac:spMk id="4" creationId="{50A97B40-0E24-405D-9340-F4C2098E3709}"/>
          </ac:spMkLst>
        </pc:spChg>
      </pc:sldChg>
      <pc:sldChg chg="modSp mod">
        <pc:chgData name="Laracuente, Antonio J" userId="f26025aa-017e-46da-97dd-4f9d498fb15b" providerId="ADAL" clId="{A6F123E1-8F12-43EF-BF96-E3752BBFD84F}" dt="2022-12-01T10:49:09.011" v="763" actId="6549"/>
        <pc:sldMkLst>
          <pc:docMk/>
          <pc:sldMk cId="4120565422" sldId="257"/>
        </pc:sldMkLst>
        <pc:graphicFrameChg chg="modGraphic">
          <ac:chgData name="Laracuente, Antonio J" userId="f26025aa-017e-46da-97dd-4f9d498fb15b" providerId="ADAL" clId="{A6F123E1-8F12-43EF-BF96-E3752BBFD84F}" dt="2022-12-01T10:49:09.011" v="763" actId="6549"/>
          <ac:graphicFrameMkLst>
            <pc:docMk/>
            <pc:sldMk cId="4120565422" sldId="257"/>
            <ac:graphicFrameMk id="7" creationId="{872EE588-0261-4597-9BCD-D1DBA24B22CA}"/>
          </ac:graphicFrameMkLst>
        </pc:graphicFrameChg>
      </pc:sldChg>
      <pc:sldChg chg="modSp mod">
        <pc:chgData name="Laracuente, Antonio J" userId="f26025aa-017e-46da-97dd-4f9d498fb15b" providerId="ADAL" clId="{A6F123E1-8F12-43EF-BF96-E3752BBFD84F}" dt="2022-12-01T11:12:25.992" v="2271" actId="20577"/>
        <pc:sldMkLst>
          <pc:docMk/>
          <pc:sldMk cId="1115176765" sldId="261"/>
        </pc:sldMkLst>
        <pc:spChg chg="mod">
          <ac:chgData name="Laracuente, Antonio J" userId="f26025aa-017e-46da-97dd-4f9d498fb15b" providerId="ADAL" clId="{A6F123E1-8F12-43EF-BF96-E3752BBFD84F}" dt="2022-12-01T11:12:25.992" v="2271" actId="20577"/>
          <ac:spMkLst>
            <pc:docMk/>
            <pc:sldMk cId="1115176765" sldId="261"/>
            <ac:spMk id="3" creationId="{9C94D64E-8C18-4299-AC7A-2EA237A286DB}"/>
          </ac:spMkLst>
        </pc:spChg>
      </pc:sldChg>
      <pc:sldChg chg="modSp mod">
        <pc:chgData name="Laracuente, Antonio J" userId="f26025aa-017e-46da-97dd-4f9d498fb15b" providerId="ADAL" clId="{A6F123E1-8F12-43EF-BF96-E3752BBFD84F}" dt="2022-12-01T11:09:56.404" v="2184" actId="6549"/>
        <pc:sldMkLst>
          <pc:docMk/>
          <pc:sldMk cId="66155223" sldId="264"/>
        </pc:sldMkLst>
        <pc:spChg chg="mod">
          <ac:chgData name="Laracuente, Antonio J" userId="f26025aa-017e-46da-97dd-4f9d498fb15b" providerId="ADAL" clId="{A6F123E1-8F12-43EF-BF96-E3752BBFD84F}" dt="2022-12-01T11:09:47.573" v="2183" actId="20577"/>
          <ac:spMkLst>
            <pc:docMk/>
            <pc:sldMk cId="66155223" sldId="264"/>
            <ac:spMk id="2" creationId="{AE8C799B-4693-4DB8-AAD6-8748C6EABC99}"/>
          </ac:spMkLst>
        </pc:spChg>
        <pc:spChg chg="mod">
          <ac:chgData name="Laracuente, Antonio J" userId="f26025aa-017e-46da-97dd-4f9d498fb15b" providerId="ADAL" clId="{A6F123E1-8F12-43EF-BF96-E3752BBFD84F}" dt="2022-12-01T11:09:56.404" v="2184" actId="6549"/>
          <ac:spMkLst>
            <pc:docMk/>
            <pc:sldMk cId="66155223" sldId="264"/>
            <ac:spMk id="7" creationId="{07B662CD-9797-375C-2B4D-06A9D61C4D00}"/>
          </ac:spMkLst>
        </pc:spChg>
      </pc:sldChg>
      <pc:sldChg chg="del">
        <pc:chgData name="Laracuente, Antonio J" userId="f26025aa-017e-46da-97dd-4f9d498fb15b" providerId="ADAL" clId="{A6F123E1-8F12-43EF-BF96-E3752BBFD84F}" dt="2022-12-01T11:10:59.359" v="2246" actId="47"/>
        <pc:sldMkLst>
          <pc:docMk/>
          <pc:sldMk cId="3790480576" sldId="272"/>
        </pc:sldMkLst>
      </pc:sldChg>
      <pc:sldChg chg="modSp mod">
        <pc:chgData name="Laracuente, Antonio J" userId="f26025aa-017e-46da-97dd-4f9d498fb15b" providerId="ADAL" clId="{A6F123E1-8F12-43EF-BF96-E3752BBFD84F}" dt="2022-12-01T11:03:18.756" v="1808" actId="6549"/>
        <pc:sldMkLst>
          <pc:docMk/>
          <pc:sldMk cId="3401314436" sldId="838841170"/>
        </pc:sldMkLst>
        <pc:spChg chg="mod">
          <ac:chgData name="Laracuente, Antonio J" userId="f26025aa-017e-46da-97dd-4f9d498fb15b" providerId="ADAL" clId="{A6F123E1-8F12-43EF-BF96-E3752BBFD84F}" dt="2022-12-01T11:03:15.026" v="1807" actId="20577"/>
          <ac:spMkLst>
            <pc:docMk/>
            <pc:sldMk cId="3401314436" sldId="838841170"/>
            <ac:spMk id="2" creationId="{FFEF732C-E3EC-81EB-3BB7-400FD904B044}"/>
          </ac:spMkLst>
        </pc:spChg>
        <pc:spChg chg="mod">
          <ac:chgData name="Laracuente, Antonio J" userId="f26025aa-017e-46da-97dd-4f9d498fb15b" providerId="ADAL" clId="{A6F123E1-8F12-43EF-BF96-E3752BBFD84F}" dt="2022-12-01T11:03:18.756" v="1808" actId="6549"/>
          <ac:spMkLst>
            <pc:docMk/>
            <pc:sldMk cId="3401314436" sldId="838841170"/>
            <ac:spMk id="3" creationId="{CCB94CA7-1D5D-8BD2-1441-8360BCAA9C7D}"/>
          </ac:spMkLst>
        </pc:spChg>
      </pc:sldChg>
      <pc:sldChg chg="modSp mod">
        <pc:chgData name="Laracuente, Antonio J" userId="f26025aa-017e-46da-97dd-4f9d498fb15b" providerId="ADAL" clId="{A6F123E1-8F12-43EF-BF96-E3752BBFD84F}" dt="2022-12-04T11:04:16.471" v="3868" actId="14100"/>
        <pc:sldMkLst>
          <pc:docMk/>
          <pc:sldMk cId="2366223156" sldId="838841171"/>
        </pc:sldMkLst>
        <pc:spChg chg="mod">
          <ac:chgData name="Laracuente, Antonio J" userId="f26025aa-017e-46da-97dd-4f9d498fb15b" providerId="ADAL" clId="{A6F123E1-8F12-43EF-BF96-E3752BBFD84F}" dt="2022-12-01T11:03:33.570" v="1855" actId="20577"/>
          <ac:spMkLst>
            <pc:docMk/>
            <pc:sldMk cId="2366223156" sldId="838841171"/>
            <ac:spMk id="2" creationId="{518ED66A-88CE-1365-F625-0493AEB395A0}"/>
          </ac:spMkLst>
        </pc:spChg>
        <pc:spChg chg="mod">
          <ac:chgData name="Laracuente, Antonio J" userId="f26025aa-017e-46da-97dd-4f9d498fb15b" providerId="ADAL" clId="{A6F123E1-8F12-43EF-BF96-E3752BBFD84F}" dt="2022-12-01T11:03:55.951" v="1856" actId="6549"/>
          <ac:spMkLst>
            <pc:docMk/>
            <pc:sldMk cId="2366223156" sldId="838841171"/>
            <ac:spMk id="3" creationId="{5363EE06-3557-4256-0A26-C4B840F66724}"/>
          </ac:spMkLst>
        </pc:spChg>
        <pc:graphicFrameChg chg="mod modGraphic">
          <ac:chgData name="Laracuente, Antonio J" userId="f26025aa-017e-46da-97dd-4f9d498fb15b" providerId="ADAL" clId="{A6F123E1-8F12-43EF-BF96-E3752BBFD84F}" dt="2022-12-04T11:04:16.471" v="3868" actId="14100"/>
          <ac:graphicFrameMkLst>
            <pc:docMk/>
            <pc:sldMk cId="2366223156" sldId="838841171"/>
            <ac:graphicFrameMk id="6" creationId="{C143995F-68D5-4B1E-BDFC-D6065CE5B723}"/>
          </ac:graphicFrameMkLst>
        </pc:graphicFrameChg>
      </pc:sldChg>
      <pc:sldChg chg="del">
        <pc:chgData name="Laracuente, Antonio J" userId="f26025aa-017e-46da-97dd-4f9d498fb15b" providerId="ADAL" clId="{A6F123E1-8F12-43EF-BF96-E3752BBFD84F}" dt="2022-12-01T11:04:15.120" v="1857" actId="47"/>
        <pc:sldMkLst>
          <pc:docMk/>
          <pc:sldMk cId="1800460662" sldId="838841172"/>
        </pc:sldMkLst>
      </pc:sldChg>
      <pc:sldChg chg="del">
        <pc:chgData name="Laracuente, Antonio J" userId="f26025aa-017e-46da-97dd-4f9d498fb15b" providerId="ADAL" clId="{A6F123E1-8F12-43EF-BF96-E3752BBFD84F}" dt="2022-12-01T11:04:17.544" v="1858" actId="47"/>
        <pc:sldMkLst>
          <pc:docMk/>
          <pc:sldMk cId="3114441866" sldId="838841173"/>
        </pc:sldMkLst>
      </pc:sldChg>
      <pc:sldChg chg="del">
        <pc:chgData name="Laracuente, Antonio J" userId="f26025aa-017e-46da-97dd-4f9d498fb15b" providerId="ADAL" clId="{A6F123E1-8F12-43EF-BF96-E3752BBFD84F}" dt="2022-12-01T11:04:32.006" v="1859" actId="47"/>
        <pc:sldMkLst>
          <pc:docMk/>
          <pc:sldMk cId="3415121353" sldId="838841174"/>
        </pc:sldMkLst>
      </pc:sldChg>
      <pc:sldChg chg="del">
        <pc:chgData name="Laracuente, Antonio J" userId="f26025aa-017e-46da-97dd-4f9d498fb15b" providerId="ADAL" clId="{A6F123E1-8F12-43EF-BF96-E3752BBFD84F}" dt="2022-12-01T11:04:38.124" v="1860" actId="47"/>
        <pc:sldMkLst>
          <pc:docMk/>
          <pc:sldMk cId="4267136345" sldId="838841175"/>
        </pc:sldMkLst>
      </pc:sldChg>
      <pc:sldChg chg="del">
        <pc:chgData name="Laracuente, Antonio J" userId="f26025aa-017e-46da-97dd-4f9d498fb15b" providerId="ADAL" clId="{A6F123E1-8F12-43EF-BF96-E3752BBFD84F}" dt="2022-12-01T11:04:40.658" v="1863" actId="47"/>
        <pc:sldMkLst>
          <pc:docMk/>
          <pc:sldMk cId="3473413929" sldId="838841176"/>
        </pc:sldMkLst>
      </pc:sldChg>
      <pc:sldChg chg="del">
        <pc:chgData name="Laracuente, Antonio J" userId="f26025aa-017e-46da-97dd-4f9d498fb15b" providerId="ADAL" clId="{A6F123E1-8F12-43EF-BF96-E3752BBFD84F}" dt="2022-12-01T11:04:41.392" v="1864" actId="47"/>
        <pc:sldMkLst>
          <pc:docMk/>
          <pc:sldMk cId="3546656996" sldId="838841177"/>
        </pc:sldMkLst>
      </pc:sldChg>
      <pc:sldChg chg="del">
        <pc:chgData name="Laracuente, Antonio J" userId="f26025aa-017e-46da-97dd-4f9d498fb15b" providerId="ADAL" clId="{A6F123E1-8F12-43EF-BF96-E3752BBFD84F}" dt="2022-12-01T11:04:39.054" v="1861" actId="47"/>
        <pc:sldMkLst>
          <pc:docMk/>
          <pc:sldMk cId="278656069" sldId="838841178"/>
        </pc:sldMkLst>
      </pc:sldChg>
      <pc:sldChg chg="del">
        <pc:chgData name="Laracuente, Antonio J" userId="f26025aa-017e-46da-97dd-4f9d498fb15b" providerId="ADAL" clId="{A6F123E1-8F12-43EF-BF96-E3752BBFD84F}" dt="2022-12-01T11:04:39.681" v="1862" actId="47"/>
        <pc:sldMkLst>
          <pc:docMk/>
          <pc:sldMk cId="4255329421" sldId="838841179"/>
        </pc:sldMkLst>
      </pc:sldChg>
      <pc:sldChg chg="modSp mod">
        <pc:chgData name="Laracuente, Antonio J" userId="f26025aa-017e-46da-97dd-4f9d498fb15b" providerId="ADAL" clId="{A6F123E1-8F12-43EF-BF96-E3752BBFD84F}" dt="2022-12-01T11:06:02.856" v="1910" actId="6549"/>
        <pc:sldMkLst>
          <pc:docMk/>
          <pc:sldMk cId="1176425062" sldId="838841180"/>
        </pc:sldMkLst>
        <pc:spChg chg="mod">
          <ac:chgData name="Laracuente, Antonio J" userId="f26025aa-017e-46da-97dd-4f9d498fb15b" providerId="ADAL" clId="{A6F123E1-8F12-43EF-BF96-E3752BBFD84F}" dt="2022-12-01T11:05:54.743" v="1909" actId="20577"/>
          <ac:spMkLst>
            <pc:docMk/>
            <pc:sldMk cId="1176425062" sldId="838841180"/>
            <ac:spMk id="2" creationId="{9A027C8C-64C0-1023-9AC0-F25B40EEB4FD}"/>
          </ac:spMkLst>
        </pc:spChg>
        <pc:spChg chg="mod">
          <ac:chgData name="Laracuente, Antonio J" userId="f26025aa-017e-46da-97dd-4f9d498fb15b" providerId="ADAL" clId="{A6F123E1-8F12-43EF-BF96-E3752BBFD84F}" dt="2022-12-01T11:06:02.856" v="1910" actId="6549"/>
          <ac:spMkLst>
            <pc:docMk/>
            <pc:sldMk cId="1176425062" sldId="838841180"/>
            <ac:spMk id="3" creationId="{662C8F4E-D25F-DA71-8A49-07535A2FD016}"/>
          </ac:spMkLst>
        </pc:spChg>
      </pc:sldChg>
      <pc:sldChg chg="modSp mod">
        <pc:chgData name="Laracuente, Antonio J" userId="f26025aa-017e-46da-97dd-4f9d498fb15b" providerId="ADAL" clId="{A6F123E1-8F12-43EF-BF96-E3752BBFD84F}" dt="2022-12-01T11:07:45.805" v="2023" actId="20577"/>
        <pc:sldMkLst>
          <pc:docMk/>
          <pc:sldMk cId="4194322645" sldId="838841181"/>
        </pc:sldMkLst>
        <pc:spChg chg="mod">
          <ac:chgData name="Laracuente, Antonio J" userId="f26025aa-017e-46da-97dd-4f9d498fb15b" providerId="ADAL" clId="{A6F123E1-8F12-43EF-BF96-E3752BBFD84F}" dt="2022-12-01T11:07:45.805" v="2023" actId="20577"/>
          <ac:spMkLst>
            <pc:docMk/>
            <pc:sldMk cId="4194322645" sldId="838841181"/>
            <ac:spMk id="2" creationId="{DE734B2B-00B8-4DE1-B9F5-FAEDF7053972}"/>
          </ac:spMkLst>
        </pc:spChg>
      </pc:sldChg>
      <pc:sldChg chg="del">
        <pc:chgData name="Laracuente, Antonio J" userId="f26025aa-017e-46da-97dd-4f9d498fb15b" providerId="ADAL" clId="{A6F123E1-8F12-43EF-BF96-E3752BBFD84F}" dt="2022-12-01T11:07:25.402" v="2015" actId="47"/>
        <pc:sldMkLst>
          <pc:docMk/>
          <pc:sldMk cId="1193867727" sldId="838841182"/>
        </pc:sldMkLst>
      </pc:sldChg>
      <pc:sldChg chg="del">
        <pc:chgData name="Laracuente, Antonio J" userId="f26025aa-017e-46da-97dd-4f9d498fb15b" providerId="ADAL" clId="{A6F123E1-8F12-43EF-BF96-E3752BBFD84F}" dt="2022-12-01T11:07:28.208" v="2017" actId="47"/>
        <pc:sldMkLst>
          <pc:docMk/>
          <pc:sldMk cId="699364160" sldId="838841183"/>
        </pc:sldMkLst>
      </pc:sldChg>
      <pc:sldChg chg="del">
        <pc:chgData name="Laracuente, Antonio J" userId="f26025aa-017e-46da-97dd-4f9d498fb15b" providerId="ADAL" clId="{A6F123E1-8F12-43EF-BF96-E3752BBFD84F}" dt="2022-12-01T11:07:27.204" v="2016" actId="47"/>
        <pc:sldMkLst>
          <pc:docMk/>
          <pc:sldMk cId="108476895" sldId="838841184"/>
        </pc:sldMkLst>
      </pc:sldChg>
      <pc:sldChg chg="delSp modSp mod">
        <pc:chgData name="Laracuente, Antonio J" userId="f26025aa-017e-46da-97dd-4f9d498fb15b" providerId="ADAL" clId="{A6F123E1-8F12-43EF-BF96-E3752BBFD84F}" dt="2022-12-01T11:10:28.914" v="2214" actId="6549"/>
        <pc:sldMkLst>
          <pc:docMk/>
          <pc:sldMk cId="1061092139" sldId="838841185"/>
        </pc:sldMkLst>
        <pc:spChg chg="mod">
          <ac:chgData name="Laracuente, Antonio J" userId="f26025aa-017e-46da-97dd-4f9d498fb15b" providerId="ADAL" clId="{A6F123E1-8F12-43EF-BF96-E3752BBFD84F}" dt="2022-12-01T11:10:19.337" v="2211" actId="20577"/>
          <ac:spMkLst>
            <pc:docMk/>
            <pc:sldMk cId="1061092139" sldId="838841185"/>
            <ac:spMk id="2" creationId="{F0CA72C6-7C4D-4EFA-AE30-8CE97FE10850}"/>
          </ac:spMkLst>
        </pc:spChg>
        <pc:spChg chg="mod">
          <ac:chgData name="Laracuente, Antonio J" userId="f26025aa-017e-46da-97dd-4f9d498fb15b" providerId="ADAL" clId="{A6F123E1-8F12-43EF-BF96-E3752BBFD84F}" dt="2022-12-01T11:10:28.914" v="2214" actId="6549"/>
          <ac:spMkLst>
            <pc:docMk/>
            <pc:sldMk cId="1061092139" sldId="838841185"/>
            <ac:spMk id="3" creationId="{382346A5-544D-40A8-8B10-0B3E91EE7BFB}"/>
          </ac:spMkLst>
        </pc:spChg>
        <pc:graphicFrameChg chg="del">
          <ac:chgData name="Laracuente, Antonio J" userId="f26025aa-017e-46da-97dd-4f9d498fb15b" providerId="ADAL" clId="{A6F123E1-8F12-43EF-BF96-E3752BBFD84F}" dt="2022-12-01T11:10:23.431" v="2212" actId="478"/>
          <ac:graphicFrameMkLst>
            <pc:docMk/>
            <pc:sldMk cId="1061092139" sldId="838841185"/>
            <ac:graphicFrameMk id="6" creationId="{12D6E0B9-086A-450C-974B-0674E05BBBCC}"/>
          </ac:graphicFrameMkLst>
        </pc:graphicFrameChg>
      </pc:sldChg>
      <pc:sldChg chg="addSp delSp modSp mod">
        <pc:chgData name="Laracuente, Antonio J" userId="f26025aa-017e-46da-97dd-4f9d498fb15b" providerId="ADAL" clId="{A6F123E1-8F12-43EF-BF96-E3752BBFD84F}" dt="2022-12-01T11:10:50.317" v="2245" actId="478"/>
        <pc:sldMkLst>
          <pc:docMk/>
          <pc:sldMk cId="3821358275" sldId="838841186"/>
        </pc:sldMkLst>
        <pc:spChg chg="mod">
          <ac:chgData name="Laracuente, Antonio J" userId="f26025aa-017e-46da-97dd-4f9d498fb15b" providerId="ADAL" clId="{A6F123E1-8F12-43EF-BF96-E3752BBFD84F}" dt="2022-12-01T11:10:40.622" v="2243" actId="20577"/>
          <ac:spMkLst>
            <pc:docMk/>
            <pc:sldMk cId="3821358275" sldId="838841186"/>
            <ac:spMk id="2" creationId="{F153331A-8DD2-4B6C-9722-A67A88512A37}"/>
          </ac:spMkLst>
        </pc:spChg>
        <pc:spChg chg="del">
          <ac:chgData name="Laracuente, Antonio J" userId="f26025aa-017e-46da-97dd-4f9d498fb15b" providerId="ADAL" clId="{A6F123E1-8F12-43EF-BF96-E3752BBFD84F}" dt="2022-12-01T11:10:43.771" v="2244" actId="478"/>
          <ac:spMkLst>
            <pc:docMk/>
            <pc:sldMk cId="3821358275" sldId="838841186"/>
            <ac:spMk id="3" creationId="{A15A1F7E-4E58-4F71-87EE-D69F409A90CA}"/>
          </ac:spMkLst>
        </pc:spChg>
        <pc:spChg chg="add mod">
          <ac:chgData name="Laracuente, Antonio J" userId="f26025aa-017e-46da-97dd-4f9d498fb15b" providerId="ADAL" clId="{A6F123E1-8F12-43EF-BF96-E3752BBFD84F}" dt="2022-12-01T11:10:43.771" v="2244" actId="478"/>
          <ac:spMkLst>
            <pc:docMk/>
            <pc:sldMk cId="3821358275" sldId="838841186"/>
            <ac:spMk id="8" creationId="{999BBCE3-1DB9-4340-97C2-4BB35C18E99B}"/>
          </ac:spMkLst>
        </pc:spChg>
        <pc:picChg chg="del">
          <ac:chgData name="Laracuente, Antonio J" userId="f26025aa-017e-46da-97dd-4f9d498fb15b" providerId="ADAL" clId="{A6F123E1-8F12-43EF-BF96-E3752BBFD84F}" dt="2022-12-01T11:10:50.317" v="2245" actId="478"/>
          <ac:picMkLst>
            <pc:docMk/>
            <pc:sldMk cId="3821358275" sldId="838841186"/>
            <ac:picMk id="7" creationId="{B5C83138-6C66-4CCE-9116-A5EEABF11121}"/>
          </ac:picMkLst>
        </pc:picChg>
      </pc:sldChg>
      <pc:sldChg chg="del">
        <pc:chgData name="Laracuente, Antonio J" userId="f26025aa-017e-46da-97dd-4f9d498fb15b" providerId="ADAL" clId="{A6F123E1-8F12-43EF-BF96-E3752BBFD84F}" dt="2022-12-01T11:11:09.221" v="2249" actId="47"/>
        <pc:sldMkLst>
          <pc:docMk/>
          <pc:sldMk cId="4196144639" sldId="838841187"/>
        </pc:sldMkLst>
      </pc:sldChg>
      <pc:sldChg chg="modSp mod">
        <pc:chgData name="Laracuente, Antonio J" userId="f26025aa-017e-46da-97dd-4f9d498fb15b" providerId="ADAL" clId="{A6F123E1-8F12-43EF-BF96-E3752BBFD84F}" dt="2022-12-01T14:22:14.249" v="2340" actId="20577"/>
        <pc:sldMkLst>
          <pc:docMk/>
          <pc:sldMk cId="3659216667" sldId="838841189"/>
        </pc:sldMkLst>
        <pc:spChg chg="mod">
          <ac:chgData name="Laracuente, Antonio J" userId="f26025aa-017e-46da-97dd-4f9d498fb15b" providerId="ADAL" clId="{A6F123E1-8F12-43EF-BF96-E3752BBFD84F}" dt="2022-12-01T11:00:00.278" v="1473" actId="12"/>
          <ac:spMkLst>
            <pc:docMk/>
            <pc:sldMk cId="3659216667" sldId="838841189"/>
            <ac:spMk id="7" creationId="{07B662CD-9797-375C-2B4D-06A9D61C4D00}"/>
          </ac:spMkLst>
        </pc:spChg>
        <pc:graphicFrameChg chg="mod modGraphic">
          <ac:chgData name="Laracuente, Antonio J" userId="f26025aa-017e-46da-97dd-4f9d498fb15b" providerId="ADAL" clId="{A6F123E1-8F12-43EF-BF96-E3752BBFD84F}" dt="2022-12-01T14:22:14.249" v="2340" actId="20577"/>
          <ac:graphicFrameMkLst>
            <pc:docMk/>
            <pc:sldMk cId="3659216667" sldId="838841189"/>
            <ac:graphicFrameMk id="5" creationId="{AE3181CE-B923-4F2A-A718-AF3489C4EA1E}"/>
          </ac:graphicFrameMkLst>
        </pc:graphicFrameChg>
      </pc:sldChg>
      <pc:sldChg chg="addSp delSp modSp mod modClrScheme chgLayout">
        <pc:chgData name="Laracuente, Antonio J" userId="f26025aa-017e-46da-97dd-4f9d498fb15b" providerId="ADAL" clId="{A6F123E1-8F12-43EF-BF96-E3752BBFD84F}" dt="2022-12-04T11:02:56.354" v="3863" actId="20577"/>
        <pc:sldMkLst>
          <pc:docMk/>
          <pc:sldMk cId="268270149" sldId="838841192"/>
        </pc:sldMkLst>
        <pc:spChg chg="add del mod ord">
          <ac:chgData name="Laracuente, Antonio J" userId="f26025aa-017e-46da-97dd-4f9d498fb15b" providerId="ADAL" clId="{A6F123E1-8F12-43EF-BF96-E3752BBFD84F}" dt="2022-12-03T11:32:00.015" v="2343" actId="478"/>
          <ac:spMkLst>
            <pc:docMk/>
            <pc:sldMk cId="268270149" sldId="838841192"/>
            <ac:spMk id="2" creationId="{22C90697-E6F9-4203-8115-F1446F3DBD81}"/>
          </ac:spMkLst>
        </pc:spChg>
        <pc:spChg chg="add mod ord">
          <ac:chgData name="Laracuente, Antonio J" userId="f26025aa-017e-46da-97dd-4f9d498fb15b" providerId="ADAL" clId="{A6F123E1-8F12-43EF-BF96-E3752BBFD84F}" dt="2022-12-04T11:02:56.354" v="3863" actId="20577"/>
          <ac:spMkLst>
            <pc:docMk/>
            <pc:sldMk cId="268270149" sldId="838841192"/>
            <ac:spMk id="3" creationId="{64595852-F6F6-4331-96CB-6907FA751680}"/>
          </ac:spMkLst>
        </pc:spChg>
        <pc:spChg chg="mod ord">
          <ac:chgData name="Laracuente, Antonio J" userId="f26025aa-017e-46da-97dd-4f9d498fb15b" providerId="ADAL" clId="{A6F123E1-8F12-43EF-BF96-E3752BBFD84F}" dt="2022-12-03T11:31:46.523" v="2341" actId="700"/>
          <ac:spMkLst>
            <pc:docMk/>
            <pc:sldMk cId="268270149" sldId="838841192"/>
            <ac:spMk id="4" creationId="{F5A9EB57-242A-456F-A867-424BCE5ED330}"/>
          </ac:spMkLst>
        </pc:spChg>
        <pc:spChg chg="mod">
          <ac:chgData name="Laracuente, Antonio J" userId="f26025aa-017e-46da-97dd-4f9d498fb15b" providerId="ADAL" clId="{A6F123E1-8F12-43EF-BF96-E3752BBFD84F}" dt="2022-12-03T11:32:03.703" v="2344" actId="1076"/>
          <ac:spMkLst>
            <pc:docMk/>
            <pc:sldMk cId="268270149" sldId="838841192"/>
            <ac:spMk id="7" creationId="{0B470449-8325-45F2-A7B0-1037040189AE}"/>
          </ac:spMkLst>
        </pc:spChg>
        <pc:spChg chg="mod ord">
          <ac:chgData name="Laracuente, Antonio J" userId="f26025aa-017e-46da-97dd-4f9d498fb15b" providerId="ADAL" clId="{A6F123E1-8F12-43EF-BF96-E3752BBFD84F}" dt="2022-12-03T11:31:46.523" v="2341" actId="700"/>
          <ac:spMkLst>
            <pc:docMk/>
            <pc:sldMk cId="268270149" sldId="838841192"/>
            <ac:spMk id="10" creationId="{BE8FEFE0-0FAA-4B8D-8816-A761B86A44FC}"/>
          </ac:spMkLst>
        </pc:spChg>
        <pc:graphicFrameChg chg="del">
          <ac:chgData name="Laracuente, Antonio J" userId="f26025aa-017e-46da-97dd-4f9d498fb15b" providerId="ADAL" clId="{A6F123E1-8F12-43EF-BF96-E3752BBFD84F}" dt="2022-12-01T11:01:09.756" v="1577" actId="21"/>
          <ac:graphicFrameMkLst>
            <pc:docMk/>
            <pc:sldMk cId="268270149" sldId="838841192"/>
            <ac:graphicFrameMk id="5" creationId="{B1BA8FA6-CA49-491F-9560-2693EFEA4579}"/>
          </ac:graphicFrameMkLst>
        </pc:graphicFrameChg>
      </pc:sldChg>
      <pc:sldChg chg="modSp mod">
        <pc:chgData name="Laracuente, Antonio J" userId="f26025aa-017e-46da-97dd-4f9d498fb15b" providerId="ADAL" clId="{A6F123E1-8F12-43EF-BF96-E3752BBFD84F}" dt="2022-12-01T10:53:56.094" v="913" actId="20577"/>
        <pc:sldMkLst>
          <pc:docMk/>
          <pc:sldMk cId="2206790986" sldId="838841195"/>
        </pc:sldMkLst>
        <pc:spChg chg="mod">
          <ac:chgData name="Laracuente, Antonio J" userId="f26025aa-017e-46da-97dd-4f9d498fb15b" providerId="ADAL" clId="{A6F123E1-8F12-43EF-BF96-E3752BBFD84F}" dt="2022-12-01T10:53:27.667" v="858" actId="20577"/>
          <ac:spMkLst>
            <pc:docMk/>
            <pc:sldMk cId="2206790986" sldId="838841195"/>
            <ac:spMk id="2" creationId="{C3E6A71F-6070-42D4-ABC9-35B2EBA55EF2}"/>
          </ac:spMkLst>
        </pc:spChg>
        <pc:spChg chg="mod">
          <ac:chgData name="Laracuente, Antonio J" userId="f26025aa-017e-46da-97dd-4f9d498fb15b" providerId="ADAL" clId="{A6F123E1-8F12-43EF-BF96-E3752BBFD84F}" dt="2022-12-01T10:53:56.094" v="913" actId="20577"/>
          <ac:spMkLst>
            <pc:docMk/>
            <pc:sldMk cId="2206790986" sldId="838841195"/>
            <ac:spMk id="11" creationId="{44E20599-85C8-4DAF-8298-64D9EDF0801F}"/>
          </ac:spMkLst>
        </pc:spChg>
      </pc:sldChg>
      <pc:sldChg chg="modSp mod">
        <pc:chgData name="Laracuente, Antonio J" userId="f26025aa-017e-46da-97dd-4f9d498fb15b" providerId="ADAL" clId="{A6F123E1-8F12-43EF-BF96-E3752BBFD84F}" dt="2022-12-01T11:03:04.756" v="1783" actId="20577"/>
        <pc:sldMkLst>
          <pc:docMk/>
          <pc:sldMk cId="2171040640" sldId="838841197"/>
        </pc:sldMkLst>
        <pc:spChg chg="mod">
          <ac:chgData name="Laracuente, Antonio J" userId="f26025aa-017e-46da-97dd-4f9d498fb15b" providerId="ADAL" clId="{A6F123E1-8F12-43EF-BF96-E3752BBFD84F}" dt="2022-12-01T11:02:36.885" v="1711" actId="20577"/>
          <ac:spMkLst>
            <pc:docMk/>
            <pc:sldMk cId="2171040640" sldId="838841197"/>
            <ac:spMk id="7" creationId="{0B470449-8325-45F2-A7B0-1037040189AE}"/>
          </ac:spMkLst>
        </pc:spChg>
        <pc:spChg chg="mod">
          <ac:chgData name="Laracuente, Antonio J" userId="f26025aa-017e-46da-97dd-4f9d498fb15b" providerId="ADAL" clId="{A6F123E1-8F12-43EF-BF96-E3752BBFD84F}" dt="2022-12-01T11:03:04.756" v="1783" actId="20577"/>
          <ac:spMkLst>
            <pc:docMk/>
            <pc:sldMk cId="2171040640" sldId="838841197"/>
            <ac:spMk id="8" creationId="{449E6DBC-7AA2-423E-B215-D0C62A1D5263}"/>
          </ac:spMkLst>
        </pc:spChg>
      </pc:sldChg>
      <pc:sldChg chg="modSp mod">
        <pc:chgData name="Laracuente, Antonio J" userId="f26025aa-017e-46da-97dd-4f9d498fb15b" providerId="ADAL" clId="{A6F123E1-8F12-43EF-BF96-E3752BBFD84F}" dt="2022-12-01T11:09:34.374" v="2164" actId="20577"/>
        <pc:sldMkLst>
          <pc:docMk/>
          <pc:sldMk cId="1859310006" sldId="838841199"/>
        </pc:sldMkLst>
        <pc:spChg chg="mod">
          <ac:chgData name="Laracuente, Antonio J" userId="f26025aa-017e-46da-97dd-4f9d498fb15b" providerId="ADAL" clId="{A6F123E1-8F12-43EF-BF96-E3752BBFD84F}" dt="2022-12-01T11:09:10.644" v="2093" actId="20577"/>
          <ac:spMkLst>
            <pc:docMk/>
            <pc:sldMk cId="1859310006" sldId="838841199"/>
            <ac:spMk id="2" creationId="{AE8C799B-4693-4DB8-AAD6-8748C6EABC99}"/>
          </ac:spMkLst>
        </pc:spChg>
        <pc:spChg chg="mod">
          <ac:chgData name="Laracuente, Antonio J" userId="f26025aa-017e-46da-97dd-4f9d498fb15b" providerId="ADAL" clId="{A6F123E1-8F12-43EF-BF96-E3752BBFD84F}" dt="2022-12-01T11:09:34.374" v="2164" actId="20577"/>
          <ac:spMkLst>
            <pc:docMk/>
            <pc:sldMk cId="1859310006" sldId="838841199"/>
            <ac:spMk id="3" creationId="{98D0DAB8-E9C9-4D22-8B67-4522ECAE5ABD}"/>
          </ac:spMkLst>
        </pc:spChg>
      </pc:sldChg>
      <pc:sldChg chg="del">
        <pc:chgData name="Laracuente, Antonio J" userId="f26025aa-017e-46da-97dd-4f9d498fb15b" providerId="ADAL" clId="{A6F123E1-8F12-43EF-BF96-E3752BBFD84F}" dt="2022-12-01T11:11:08.372" v="2248" actId="47"/>
        <pc:sldMkLst>
          <pc:docMk/>
          <pc:sldMk cId="3596599599" sldId="838841200"/>
        </pc:sldMkLst>
      </pc:sldChg>
      <pc:sldChg chg="del">
        <pc:chgData name="Laracuente, Antonio J" userId="f26025aa-017e-46da-97dd-4f9d498fb15b" providerId="ADAL" clId="{A6F123E1-8F12-43EF-BF96-E3752BBFD84F}" dt="2022-12-01T11:11:02.657" v="2247" actId="47"/>
        <pc:sldMkLst>
          <pc:docMk/>
          <pc:sldMk cId="1031161599" sldId="838841204"/>
        </pc:sldMkLst>
      </pc:sldChg>
      <pc:sldChg chg="delSp modSp mod">
        <pc:chgData name="Laracuente, Antonio J" userId="f26025aa-017e-46da-97dd-4f9d498fb15b" providerId="ADAL" clId="{A6F123E1-8F12-43EF-BF96-E3752BBFD84F}" dt="2022-12-01T11:02:05.380" v="1635" actId="21"/>
        <pc:sldMkLst>
          <pc:docMk/>
          <pc:sldMk cId="1251683407" sldId="838841205"/>
        </pc:sldMkLst>
        <pc:spChg chg="mod">
          <ac:chgData name="Laracuente, Antonio J" userId="f26025aa-017e-46da-97dd-4f9d498fb15b" providerId="ADAL" clId="{A6F123E1-8F12-43EF-BF96-E3752BBFD84F}" dt="2022-12-01T11:01:56.514" v="1633" actId="20577"/>
          <ac:spMkLst>
            <pc:docMk/>
            <pc:sldMk cId="1251683407" sldId="838841205"/>
            <ac:spMk id="7" creationId="{0B470449-8325-45F2-A7B0-1037040189AE}"/>
          </ac:spMkLst>
        </pc:spChg>
        <pc:spChg chg="del">
          <ac:chgData name="Laracuente, Antonio J" userId="f26025aa-017e-46da-97dd-4f9d498fb15b" providerId="ADAL" clId="{A6F123E1-8F12-43EF-BF96-E3752BBFD84F}" dt="2022-12-01T11:02:05.380" v="1635" actId="21"/>
          <ac:spMkLst>
            <pc:docMk/>
            <pc:sldMk cId="1251683407" sldId="838841205"/>
            <ac:spMk id="9" creationId="{E2E8BDAB-209A-4C6C-AC30-42EB9FD5E212}"/>
          </ac:spMkLst>
        </pc:spChg>
        <pc:picChg chg="del">
          <ac:chgData name="Laracuente, Antonio J" userId="f26025aa-017e-46da-97dd-4f9d498fb15b" providerId="ADAL" clId="{A6F123E1-8F12-43EF-BF96-E3752BBFD84F}" dt="2022-12-01T11:02:00.662" v="1634" actId="21"/>
          <ac:picMkLst>
            <pc:docMk/>
            <pc:sldMk cId="1251683407" sldId="838841205"/>
            <ac:picMk id="3" creationId="{7DE4AC57-35E5-4384-A208-AE01F493384E}"/>
          </ac:picMkLst>
        </pc:picChg>
      </pc:sldChg>
      <pc:sldChg chg="del">
        <pc:chgData name="Laracuente, Antonio J" userId="f26025aa-017e-46da-97dd-4f9d498fb15b" providerId="ADAL" clId="{A6F123E1-8F12-43EF-BF96-E3752BBFD84F}" dt="2022-12-01T11:07:35.453" v="2019" actId="47"/>
        <pc:sldMkLst>
          <pc:docMk/>
          <pc:sldMk cId="3337272288" sldId="838841206"/>
        </pc:sldMkLst>
      </pc:sldChg>
      <pc:sldChg chg="del">
        <pc:chgData name="Laracuente, Antonio J" userId="f26025aa-017e-46da-97dd-4f9d498fb15b" providerId="ADAL" clId="{A6F123E1-8F12-43EF-BF96-E3752BBFD84F}" dt="2022-12-01T11:07:31.676" v="2018" actId="47"/>
        <pc:sldMkLst>
          <pc:docMk/>
          <pc:sldMk cId="3463800066" sldId="838841207"/>
        </pc:sldMkLst>
      </pc:sldChg>
      <pc:sldChg chg="addSp delSp modSp mod">
        <pc:chgData name="Laracuente, Antonio J" userId="f26025aa-017e-46da-97dd-4f9d498fb15b" providerId="ADAL" clId="{A6F123E1-8F12-43EF-BF96-E3752BBFD84F}" dt="2022-12-04T10:59:54.644" v="3721" actId="20577"/>
        <pc:sldMkLst>
          <pc:docMk/>
          <pc:sldMk cId="79676408" sldId="838841208"/>
        </pc:sldMkLst>
        <pc:spChg chg="mod">
          <ac:chgData name="Laracuente, Antonio J" userId="f26025aa-017e-46da-97dd-4f9d498fb15b" providerId="ADAL" clId="{A6F123E1-8F12-43EF-BF96-E3752BBFD84F}" dt="2022-12-01T11:00:31.052" v="1550" actId="20577"/>
          <ac:spMkLst>
            <pc:docMk/>
            <pc:sldMk cId="79676408" sldId="838841208"/>
            <ac:spMk id="2" creationId="{AE8C799B-4693-4DB8-AAD6-8748C6EABC99}"/>
          </ac:spMkLst>
        </pc:spChg>
        <pc:spChg chg="mod">
          <ac:chgData name="Laracuente, Antonio J" userId="f26025aa-017e-46da-97dd-4f9d498fb15b" providerId="ADAL" clId="{A6F123E1-8F12-43EF-BF96-E3752BBFD84F}" dt="2022-12-04T10:59:54.644" v="3721" actId="20577"/>
          <ac:spMkLst>
            <pc:docMk/>
            <pc:sldMk cId="79676408" sldId="838841208"/>
            <ac:spMk id="7" creationId="{07B662CD-9797-375C-2B4D-06A9D61C4D00}"/>
          </ac:spMkLst>
        </pc:spChg>
        <pc:graphicFrameChg chg="del">
          <ac:chgData name="Laracuente, Antonio J" userId="f26025aa-017e-46da-97dd-4f9d498fb15b" providerId="ADAL" clId="{A6F123E1-8F12-43EF-BF96-E3752BBFD84F}" dt="2022-12-01T11:00:44.965" v="1552" actId="21"/>
          <ac:graphicFrameMkLst>
            <pc:docMk/>
            <pc:sldMk cId="79676408" sldId="838841208"/>
            <ac:graphicFrameMk id="5" creationId="{AE3181CE-B923-4F2A-A718-AF3489C4EA1E}"/>
          </ac:graphicFrameMkLst>
        </pc:graphicFrameChg>
        <pc:picChg chg="add mod">
          <ac:chgData name="Laracuente, Antonio J" userId="f26025aa-017e-46da-97dd-4f9d498fb15b" providerId="ADAL" clId="{A6F123E1-8F12-43EF-BF96-E3752BBFD84F}" dt="2022-12-03T11:37:34.979" v="2722" actId="1076"/>
          <ac:picMkLst>
            <pc:docMk/>
            <pc:sldMk cId="79676408" sldId="838841208"/>
            <ac:picMk id="9" creationId="{DC622A05-E71C-4CF1-BDCD-F3DF8A897C30}"/>
          </ac:picMkLst>
        </pc:picChg>
      </pc:sldChg>
      <pc:sldChg chg="modSp add mod">
        <pc:chgData name="Laracuente, Antonio J" userId="f26025aa-017e-46da-97dd-4f9d498fb15b" providerId="ADAL" clId="{A6F123E1-8F12-43EF-BF96-E3752BBFD84F}" dt="2022-12-01T11:06:23.616" v="1926" actId="6549"/>
        <pc:sldMkLst>
          <pc:docMk/>
          <pc:sldMk cId="14655231" sldId="838841209"/>
        </pc:sldMkLst>
        <pc:spChg chg="mod">
          <ac:chgData name="Laracuente, Antonio J" userId="f26025aa-017e-46da-97dd-4f9d498fb15b" providerId="ADAL" clId="{A6F123E1-8F12-43EF-BF96-E3752BBFD84F}" dt="2022-12-01T11:06:20.320" v="1925" actId="20577"/>
          <ac:spMkLst>
            <pc:docMk/>
            <pc:sldMk cId="14655231" sldId="838841209"/>
            <ac:spMk id="2" creationId="{9A027C8C-64C0-1023-9AC0-F25B40EEB4FD}"/>
          </ac:spMkLst>
        </pc:spChg>
        <pc:spChg chg="mod">
          <ac:chgData name="Laracuente, Antonio J" userId="f26025aa-017e-46da-97dd-4f9d498fb15b" providerId="ADAL" clId="{A6F123E1-8F12-43EF-BF96-E3752BBFD84F}" dt="2022-12-01T11:06:23.616" v="1926" actId="6549"/>
          <ac:spMkLst>
            <pc:docMk/>
            <pc:sldMk cId="14655231" sldId="838841209"/>
            <ac:spMk id="3" creationId="{662C8F4E-D25F-DA71-8A49-07535A2FD016}"/>
          </ac:spMkLst>
        </pc:spChg>
      </pc:sldChg>
      <pc:sldChg chg="new del">
        <pc:chgData name="Laracuente, Antonio J" userId="f26025aa-017e-46da-97dd-4f9d498fb15b" providerId="ADAL" clId="{A6F123E1-8F12-43EF-BF96-E3752BBFD84F}" dt="2022-12-01T11:05:40.770" v="1903" actId="2696"/>
        <pc:sldMkLst>
          <pc:docMk/>
          <pc:sldMk cId="409271338" sldId="838841209"/>
        </pc:sldMkLst>
      </pc:sldChg>
      <pc:sldChg chg="modSp add mod">
        <pc:chgData name="Laracuente, Antonio J" userId="f26025aa-017e-46da-97dd-4f9d498fb15b" providerId="ADAL" clId="{A6F123E1-8F12-43EF-BF96-E3752BBFD84F}" dt="2022-12-04T11:07:37.683" v="4404" actId="20577"/>
        <pc:sldMkLst>
          <pc:docMk/>
          <pc:sldMk cId="919342513" sldId="838841210"/>
        </pc:sldMkLst>
        <pc:spChg chg="mod">
          <ac:chgData name="Laracuente, Antonio J" userId="f26025aa-017e-46da-97dd-4f9d498fb15b" providerId="ADAL" clId="{A6F123E1-8F12-43EF-BF96-E3752BBFD84F}" dt="2022-12-01T11:06:39.128" v="1958" actId="20577"/>
          <ac:spMkLst>
            <pc:docMk/>
            <pc:sldMk cId="919342513" sldId="838841210"/>
            <ac:spMk id="2" creationId="{9A027C8C-64C0-1023-9AC0-F25B40EEB4FD}"/>
          </ac:spMkLst>
        </pc:spChg>
        <pc:spChg chg="mod">
          <ac:chgData name="Laracuente, Antonio J" userId="f26025aa-017e-46da-97dd-4f9d498fb15b" providerId="ADAL" clId="{A6F123E1-8F12-43EF-BF96-E3752BBFD84F}" dt="2022-12-04T11:07:37.683" v="4404" actId="20577"/>
          <ac:spMkLst>
            <pc:docMk/>
            <pc:sldMk cId="919342513" sldId="838841210"/>
            <ac:spMk id="3" creationId="{662C8F4E-D25F-DA71-8A49-07535A2FD016}"/>
          </ac:spMkLst>
        </pc:spChg>
      </pc:sldChg>
      <pc:sldChg chg="modSp add del mod">
        <pc:chgData name="Laracuente, Antonio J" userId="f26025aa-017e-46da-97dd-4f9d498fb15b" providerId="ADAL" clId="{A6F123E1-8F12-43EF-BF96-E3752BBFD84F}" dt="2022-12-01T10:53:04.524" v="796" actId="2696"/>
        <pc:sldMkLst>
          <pc:docMk/>
          <pc:sldMk cId="3239556987" sldId="838841210"/>
        </pc:sldMkLst>
        <pc:spChg chg="mod">
          <ac:chgData name="Laracuente, Antonio J" userId="f26025aa-017e-46da-97dd-4f9d498fb15b" providerId="ADAL" clId="{A6F123E1-8F12-43EF-BF96-E3752BBFD84F}" dt="2022-12-01T10:52:58.806" v="795" actId="20577"/>
          <ac:spMkLst>
            <pc:docMk/>
            <pc:sldMk cId="3239556987" sldId="838841210"/>
            <ac:spMk id="2" creationId="{FFEF732C-E3EC-81EB-3BB7-400FD904B044}"/>
          </ac:spMkLst>
        </pc:spChg>
      </pc:sldChg>
      <pc:sldChg chg="addSp delSp modSp add mod">
        <pc:chgData name="Laracuente, Antonio J" userId="f26025aa-017e-46da-97dd-4f9d498fb15b" providerId="ADAL" clId="{A6F123E1-8F12-43EF-BF96-E3752BBFD84F}" dt="2022-12-01T11:08:39.563" v="2048" actId="478"/>
        <pc:sldMkLst>
          <pc:docMk/>
          <pc:sldMk cId="1723166317" sldId="838841211"/>
        </pc:sldMkLst>
        <pc:spChg chg="mod">
          <ac:chgData name="Laracuente, Antonio J" userId="f26025aa-017e-46da-97dd-4f9d498fb15b" providerId="ADAL" clId="{A6F123E1-8F12-43EF-BF96-E3752BBFD84F}" dt="2022-12-01T11:08:09.602" v="2041" actId="20577"/>
          <ac:spMkLst>
            <pc:docMk/>
            <pc:sldMk cId="1723166317" sldId="838841211"/>
            <ac:spMk id="2" creationId="{DE734B2B-00B8-4DE1-B9F5-FAEDF7053972}"/>
          </ac:spMkLst>
        </pc:spChg>
        <pc:spChg chg="add mod">
          <ac:chgData name="Laracuente, Antonio J" userId="f26025aa-017e-46da-97dd-4f9d498fb15b" providerId="ADAL" clId="{A6F123E1-8F12-43EF-BF96-E3752BBFD84F}" dt="2022-12-01T11:08:11.180" v="2042" actId="478"/>
          <ac:spMkLst>
            <pc:docMk/>
            <pc:sldMk cId="1723166317" sldId="838841211"/>
            <ac:spMk id="6" creationId="{EBC22641-E615-4C31-9491-E09067EF98FD}"/>
          </ac:spMkLst>
        </pc:spChg>
        <pc:spChg chg="del">
          <ac:chgData name="Laracuente, Antonio J" userId="f26025aa-017e-46da-97dd-4f9d498fb15b" providerId="ADAL" clId="{A6F123E1-8F12-43EF-BF96-E3752BBFD84F}" dt="2022-12-01T11:08:13.622" v="2043" actId="478"/>
          <ac:spMkLst>
            <pc:docMk/>
            <pc:sldMk cId="1723166317" sldId="838841211"/>
            <ac:spMk id="10" creationId="{06C03803-9935-4406-B413-413B49602E4A}"/>
          </ac:spMkLst>
        </pc:spChg>
        <pc:picChg chg="del">
          <ac:chgData name="Laracuente, Antonio J" userId="f26025aa-017e-46da-97dd-4f9d498fb15b" providerId="ADAL" clId="{A6F123E1-8F12-43EF-BF96-E3752BBFD84F}" dt="2022-12-01T11:08:11.180" v="2042" actId="478"/>
          <ac:picMkLst>
            <pc:docMk/>
            <pc:sldMk cId="1723166317" sldId="838841211"/>
            <ac:picMk id="7" creationId="{70F4FE4D-931E-4C4E-B3FF-F8DD11C991AF}"/>
          </ac:picMkLst>
        </pc:picChg>
        <pc:cxnChg chg="del">
          <ac:chgData name="Laracuente, Antonio J" userId="f26025aa-017e-46da-97dd-4f9d498fb15b" providerId="ADAL" clId="{A6F123E1-8F12-43EF-BF96-E3752BBFD84F}" dt="2022-12-01T11:08:39.563" v="2048" actId="478"/>
          <ac:cxnSpMkLst>
            <pc:docMk/>
            <pc:sldMk cId="1723166317" sldId="838841211"/>
            <ac:cxnSpMk id="9" creationId="{3C0F5957-1916-4797-AE35-BD57D814C482}"/>
          </ac:cxnSpMkLst>
        </pc:cxnChg>
      </pc:sldChg>
      <pc:sldChg chg="addSp delSp modSp add mod">
        <pc:chgData name="Laracuente, Antonio J" userId="f26025aa-017e-46da-97dd-4f9d498fb15b" providerId="ADAL" clId="{A6F123E1-8F12-43EF-BF96-E3752BBFD84F}" dt="2022-12-04T11:07:54.861" v="4406" actId="20577"/>
        <pc:sldMkLst>
          <pc:docMk/>
          <pc:sldMk cId="2166474339" sldId="838841212"/>
        </pc:sldMkLst>
        <pc:spChg chg="mod">
          <ac:chgData name="Laracuente, Antonio J" userId="f26025aa-017e-46da-97dd-4f9d498fb15b" providerId="ADAL" clId="{A6F123E1-8F12-43EF-BF96-E3752BBFD84F}" dt="2022-12-04T11:07:52.223" v="4405" actId="20577"/>
          <ac:spMkLst>
            <pc:docMk/>
            <pc:sldMk cId="2166474339" sldId="838841212"/>
            <ac:spMk id="2" creationId="{DE734B2B-00B8-4DE1-B9F5-FAEDF7053972}"/>
          </ac:spMkLst>
        </pc:spChg>
        <pc:spChg chg="add mod">
          <ac:chgData name="Laracuente, Antonio J" userId="f26025aa-017e-46da-97dd-4f9d498fb15b" providerId="ADAL" clId="{A6F123E1-8F12-43EF-BF96-E3752BBFD84F}" dt="2022-12-04T11:07:54.861" v="4406" actId="20577"/>
          <ac:spMkLst>
            <pc:docMk/>
            <pc:sldMk cId="2166474339" sldId="838841212"/>
            <ac:spMk id="6" creationId="{74693377-7992-46DE-A0F2-9888B9FA4AED}"/>
          </ac:spMkLst>
        </pc:spChg>
        <pc:spChg chg="del">
          <ac:chgData name="Laracuente, Antonio J" userId="f26025aa-017e-46da-97dd-4f9d498fb15b" providerId="ADAL" clId="{A6F123E1-8F12-43EF-BF96-E3752BBFD84F}" dt="2022-12-01T11:08:35.723" v="2047" actId="478"/>
          <ac:spMkLst>
            <pc:docMk/>
            <pc:sldMk cId="2166474339" sldId="838841212"/>
            <ac:spMk id="10" creationId="{06C03803-9935-4406-B413-413B49602E4A}"/>
          </ac:spMkLst>
        </pc:spChg>
        <pc:picChg chg="del">
          <ac:chgData name="Laracuente, Antonio J" userId="f26025aa-017e-46da-97dd-4f9d498fb15b" providerId="ADAL" clId="{A6F123E1-8F12-43EF-BF96-E3752BBFD84F}" dt="2022-12-01T11:08:35.723" v="2047" actId="478"/>
          <ac:picMkLst>
            <pc:docMk/>
            <pc:sldMk cId="2166474339" sldId="838841212"/>
            <ac:picMk id="7" creationId="{70F4FE4D-931E-4C4E-B3FF-F8DD11C991AF}"/>
          </ac:picMkLst>
        </pc:picChg>
        <pc:cxnChg chg="del">
          <ac:chgData name="Laracuente, Antonio J" userId="f26025aa-017e-46da-97dd-4f9d498fb15b" providerId="ADAL" clId="{A6F123E1-8F12-43EF-BF96-E3752BBFD84F}" dt="2022-12-01T11:08:35.723" v="2047" actId="478"/>
          <ac:cxnSpMkLst>
            <pc:docMk/>
            <pc:sldMk cId="2166474339" sldId="838841212"/>
            <ac:cxnSpMk id="9" creationId="{3C0F5957-1916-4797-AE35-BD57D814C482}"/>
          </ac:cxnSpMkLst>
        </pc:cxnChg>
      </pc:sldChg>
      <pc:sldChg chg="addSp delSp modSp add mod">
        <pc:chgData name="Laracuente, Antonio J" userId="f26025aa-017e-46da-97dd-4f9d498fb15b" providerId="ADAL" clId="{A6F123E1-8F12-43EF-BF96-E3752BBFD84F}" dt="2022-12-01T11:08:56.761" v="2070" actId="478"/>
        <pc:sldMkLst>
          <pc:docMk/>
          <pc:sldMk cId="1683637766" sldId="838841213"/>
        </pc:sldMkLst>
        <pc:spChg chg="mod">
          <ac:chgData name="Laracuente, Antonio J" userId="f26025aa-017e-46da-97dd-4f9d498fb15b" providerId="ADAL" clId="{A6F123E1-8F12-43EF-BF96-E3752BBFD84F}" dt="2022-12-01T11:08:53.054" v="2069" actId="20577"/>
          <ac:spMkLst>
            <pc:docMk/>
            <pc:sldMk cId="1683637766" sldId="838841213"/>
            <ac:spMk id="2" creationId="{DE734B2B-00B8-4DE1-B9F5-FAEDF7053972}"/>
          </ac:spMkLst>
        </pc:spChg>
        <pc:spChg chg="add mod">
          <ac:chgData name="Laracuente, Antonio J" userId="f26025aa-017e-46da-97dd-4f9d498fb15b" providerId="ADAL" clId="{A6F123E1-8F12-43EF-BF96-E3752BBFD84F}" dt="2022-12-01T11:08:56.761" v="2070" actId="478"/>
          <ac:spMkLst>
            <pc:docMk/>
            <pc:sldMk cId="1683637766" sldId="838841213"/>
            <ac:spMk id="6" creationId="{6F058A63-8231-486A-9883-4FC801B9C1D4}"/>
          </ac:spMkLst>
        </pc:spChg>
        <pc:spChg chg="del">
          <ac:chgData name="Laracuente, Antonio J" userId="f26025aa-017e-46da-97dd-4f9d498fb15b" providerId="ADAL" clId="{A6F123E1-8F12-43EF-BF96-E3752BBFD84F}" dt="2022-12-01T11:08:56.761" v="2070" actId="478"/>
          <ac:spMkLst>
            <pc:docMk/>
            <pc:sldMk cId="1683637766" sldId="838841213"/>
            <ac:spMk id="10" creationId="{06C03803-9935-4406-B413-413B49602E4A}"/>
          </ac:spMkLst>
        </pc:spChg>
        <pc:picChg chg="del">
          <ac:chgData name="Laracuente, Antonio J" userId="f26025aa-017e-46da-97dd-4f9d498fb15b" providerId="ADAL" clId="{A6F123E1-8F12-43EF-BF96-E3752BBFD84F}" dt="2022-12-01T11:08:56.761" v="2070" actId="478"/>
          <ac:picMkLst>
            <pc:docMk/>
            <pc:sldMk cId="1683637766" sldId="838841213"/>
            <ac:picMk id="7" creationId="{70F4FE4D-931E-4C4E-B3FF-F8DD11C991AF}"/>
          </ac:picMkLst>
        </pc:picChg>
        <pc:cxnChg chg="del">
          <ac:chgData name="Laracuente, Antonio J" userId="f26025aa-017e-46da-97dd-4f9d498fb15b" providerId="ADAL" clId="{A6F123E1-8F12-43EF-BF96-E3752BBFD84F}" dt="2022-12-01T11:08:56.761" v="2070" actId="478"/>
          <ac:cxnSpMkLst>
            <pc:docMk/>
            <pc:sldMk cId="1683637766" sldId="838841213"/>
            <ac:cxnSpMk id="9" creationId="{3C0F5957-1916-4797-AE35-BD57D814C482}"/>
          </ac:cxnSpMkLst>
        </pc:cxnChg>
      </pc:sldChg>
      <pc:sldChg chg="modSp mod">
        <pc:chgData name="Laracuente, Antonio J" userId="f26025aa-017e-46da-97dd-4f9d498fb15b" providerId="ADAL" clId="{A6F123E1-8F12-43EF-BF96-E3752BBFD84F}" dt="2022-12-07T19:59:39.709" v="5022" actId="20577"/>
        <pc:sldMkLst>
          <pc:docMk/>
          <pc:sldMk cId="4201618843" sldId="838841231"/>
        </pc:sldMkLst>
        <pc:spChg chg="mod">
          <ac:chgData name="Laracuente, Antonio J" userId="f26025aa-017e-46da-97dd-4f9d498fb15b" providerId="ADAL" clId="{A6F123E1-8F12-43EF-BF96-E3752BBFD84F}" dt="2022-12-07T19:59:39.709" v="5022" actId="20577"/>
          <ac:spMkLst>
            <pc:docMk/>
            <pc:sldMk cId="4201618843" sldId="838841231"/>
            <ac:spMk id="3" creationId="{B069E2E4-C3BD-4C25-2E2C-E635482A5BF8}"/>
          </ac:spMkLst>
        </pc:spChg>
      </pc:sldChg>
      <pc:sldChg chg="modSp mod">
        <pc:chgData name="Laracuente, Antonio J" userId="f26025aa-017e-46da-97dd-4f9d498fb15b" providerId="ADAL" clId="{A6F123E1-8F12-43EF-BF96-E3752BBFD84F}" dt="2022-12-07T19:59:45.114" v="5023" actId="20577"/>
        <pc:sldMkLst>
          <pc:docMk/>
          <pc:sldMk cId="1757442002" sldId="838841232"/>
        </pc:sldMkLst>
        <pc:spChg chg="mod">
          <ac:chgData name="Laracuente, Antonio J" userId="f26025aa-017e-46da-97dd-4f9d498fb15b" providerId="ADAL" clId="{A6F123E1-8F12-43EF-BF96-E3752BBFD84F}" dt="2022-12-07T19:59:45.114" v="5023" actId="20577"/>
          <ac:spMkLst>
            <pc:docMk/>
            <pc:sldMk cId="1757442002" sldId="838841232"/>
            <ac:spMk id="7" creationId="{7F7D3D88-ED0E-0337-6AB8-BA4FC1B772F4}"/>
          </ac:spMkLst>
        </pc:spChg>
      </pc:sldChg>
      <pc:sldChg chg="modSp mod">
        <pc:chgData name="Laracuente, Antonio J" userId="f26025aa-017e-46da-97dd-4f9d498fb15b" providerId="ADAL" clId="{A6F123E1-8F12-43EF-BF96-E3752BBFD84F}" dt="2022-12-04T11:33:50.850" v="5019" actId="20577"/>
        <pc:sldMkLst>
          <pc:docMk/>
          <pc:sldMk cId="4237608706" sldId="838841237"/>
        </pc:sldMkLst>
        <pc:spChg chg="mod">
          <ac:chgData name="Laracuente, Antonio J" userId="f26025aa-017e-46da-97dd-4f9d498fb15b" providerId="ADAL" clId="{A6F123E1-8F12-43EF-BF96-E3752BBFD84F}" dt="2022-12-04T11:33:50.850" v="5019" actId="20577"/>
          <ac:spMkLst>
            <pc:docMk/>
            <pc:sldMk cId="4237608706" sldId="838841237"/>
            <ac:spMk id="3" creationId="{A611C638-D842-4B14-8BD5-B5AF89D59BC8}"/>
          </ac:spMkLst>
        </pc:spChg>
      </pc:sldChg>
      <pc:sldChg chg="modSp add mod">
        <pc:chgData name="Laracuente, Antonio J" userId="f26025aa-017e-46da-97dd-4f9d498fb15b" providerId="ADAL" clId="{A6F123E1-8F12-43EF-BF96-E3752BBFD84F}" dt="2022-12-04T11:11:21.114" v="4791" actId="5793"/>
        <pc:sldMkLst>
          <pc:docMk/>
          <pc:sldMk cId="3009181415" sldId="838841238"/>
        </pc:sldMkLst>
        <pc:spChg chg="mod">
          <ac:chgData name="Laracuente, Antonio J" userId="f26025aa-017e-46da-97dd-4f9d498fb15b" providerId="ADAL" clId="{A6F123E1-8F12-43EF-BF96-E3752BBFD84F}" dt="2022-12-04T11:08:53.605" v="4414" actId="20577"/>
          <ac:spMkLst>
            <pc:docMk/>
            <pc:sldMk cId="3009181415" sldId="838841238"/>
            <ac:spMk id="2" creationId="{CF0EC4BE-7275-F558-DA05-E90A92EF3F63}"/>
          </ac:spMkLst>
        </pc:spChg>
        <pc:spChg chg="mod">
          <ac:chgData name="Laracuente, Antonio J" userId="f26025aa-017e-46da-97dd-4f9d498fb15b" providerId="ADAL" clId="{A6F123E1-8F12-43EF-BF96-E3752BBFD84F}" dt="2022-12-04T11:11:21.114" v="4791" actId="5793"/>
          <ac:spMkLst>
            <pc:docMk/>
            <pc:sldMk cId="3009181415" sldId="838841238"/>
            <ac:spMk id="3" creationId="{FC405514-65DD-B961-872D-D480CB8E5AE8}"/>
          </ac:spMkLst>
        </pc:spChg>
      </pc:sldChg>
    </pc:docChg>
  </pc:docChgLst>
  <pc:docChgLst>
    <pc:chgData name="Negrete, Maria (Titan Alpha)" userId="0a4ba534-701a-455c-bf6c-e730d0a01c09" providerId="ADAL" clId="{DFCEB9D2-06E6-4E97-8056-664425C16752}"/>
    <pc:docChg chg="undo redo custSel modSld">
      <pc:chgData name="Negrete, Maria (Titan Alpha)" userId="0a4ba534-701a-455c-bf6c-e730d0a01c09" providerId="ADAL" clId="{DFCEB9D2-06E6-4E97-8056-664425C16752}" dt="2022-12-05T13:25:46.847" v="546" actId="20577"/>
      <pc:docMkLst>
        <pc:docMk/>
      </pc:docMkLst>
      <pc:sldChg chg="modSp mod">
        <pc:chgData name="Negrete, Maria (Titan Alpha)" userId="0a4ba534-701a-455c-bf6c-e730d0a01c09" providerId="ADAL" clId="{DFCEB9D2-06E6-4E97-8056-664425C16752}" dt="2022-12-02T18:28:29.423" v="62" actId="20577"/>
        <pc:sldMkLst>
          <pc:docMk/>
          <pc:sldMk cId="2240003729" sldId="256"/>
        </pc:sldMkLst>
        <pc:spChg chg="mod">
          <ac:chgData name="Negrete, Maria (Titan Alpha)" userId="0a4ba534-701a-455c-bf6c-e730d0a01c09" providerId="ADAL" clId="{DFCEB9D2-06E6-4E97-8056-664425C16752}" dt="2022-12-02T16:39:58.362" v="0" actId="113"/>
          <ac:spMkLst>
            <pc:docMk/>
            <pc:sldMk cId="2240003729" sldId="256"/>
            <ac:spMk id="3" creationId="{55C8F484-6B8B-49B7-BAA2-C5FBA584D1C0}"/>
          </ac:spMkLst>
        </pc:spChg>
        <pc:spChg chg="mod">
          <ac:chgData name="Negrete, Maria (Titan Alpha)" userId="0a4ba534-701a-455c-bf6c-e730d0a01c09" providerId="ADAL" clId="{DFCEB9D2-06E6-4E97-8056-664425C16752}" dt="2022-12-02T18:28:29.423" v="62" actId="20577"/>
          <ac:spMkLst>
            <pc:docMk/>
            <pc:sldMk cId="2240003729" sldId="256"/>
            <ac:spMk id="4" creationId="{50A97B40-0E24-405D-9340-F4C2098E3709}"/>
          </ac:spMkLst>
        </pc:spChg>
      </pc:sldChg>
      <pc:sldChg chg="modSp mod">
        <pc:chgData name="Negrete, Maria (Titan Alpha)" userId="0a4ba534-701a-455c-bf6c-e730d0a01c09" providerId="ADAL" clId="{DFCEB9D2-06E6-4E97-8056-664425C16752}" dt="2022-12-02T21:14:12.197" v="513" actId="20577"/>
        <pc:sldMkLst>
          <pc:docMk/>
          <pc:sldMk cId="1115176765" sldId="261"/>
        </pc:sldMkLst>
        <pc:spChg chg="mod">
          <ac:chgData name="Negrete, Maria (Titan Alpha)" userId="0a4ba534-701a-455c-bf6c-e730d0a01c09" providerId="ADAL" clId="{DFCEB9D2-06E6-4E97-8056-664425C16752}" dt="2022-12-02T21:14:12.197" v="513" actId="20577"/>
          <ac:spMkLst>
            <pc:docMk/>
            <pc:sldMk cId="1115176765" sldId="261"/>
            <ac:spMk id="3" creationId="{9C94D64E-8C18-4299-AC7A-2EA237A286DB}"/>
          </ac:spMkLst>
        </pc:spChg>
      </pc:sldChg>
      <pc:sldChg chg="modSp mod">
        <pc:chgData name="Negrete, Maria (Titan Alpha)" userId="0a4ba534-701a-455c-bf6c-e730d0a01c09" providerId="ADAL" clId="{DFCEB9D2-06E6-4E97-8056-664425C16752}" dt="2022-12-02T19:37:43.998" v="432" actId="6549"/>
        <pc:sldMkLst>
          <pc:docMk/>
          <pc:sldMk cId="66155223" sldId="264"/>
        </pc:sldMkLst>
        <pc:spChg chg="mod">
          <ac:chgData name="Negrete, Maria (Titan Alpha)" userId="0a4ba534-701a-455c-bf6c-e730d0a01c09" providerId="ADAL" clId="{DFCEB9D2-06E6-4E97-8056-664425C16752}" dt="2022-12-02T19:37:43.998" v="432" actId="6549"/>
          <ac:spMkLst>
            <pc:docMk/>
            <pc:sldMk cId="66155223" sldId="264"/>
            <ac:spMk id="3" creationId="{66969E95-C3EB-F572-BE2A-F6BE479FCFC1}"/>
          </ac:spMkLst>
        </pc:spChg>
        <pc:picChg chg="mod">
          <ac:chgData name="Negrete, Maria (Titan Alpha)" userId="0a4ba534-701a-455c-bf6c-e730d0a01c09" providerId="ADAL" clId="{DFCEB9D2-06E6-4E97-8056-664425C16752}" dt="2022-12-02T19:37:31.335" v="430" actId="692"/>
          <ac:picMkLst>
            <pc:docMk/>
            <pc:sldMk cId="66155223" sldId="264"/>
            <ac:picMk id="5" creationId="{B2792B9F-DCBC-926A-97CD-0ACCC03C998A}"/>
          </ac:picMkLst>
        </pc:picChg>
      </pc:sldChg>
      <pc:sldChg chg="modSp mod">
        <pc:chgData name="Negrete, Maria (Titan Alpha)" userId="0a4ba534-701a-455c-bf6c-e730d0a01c09" providerId="ADAL" clId="{DFCEB9D2-06E6-4E97-8056-664425C16752}" dt="2022-12-02T18:53:43.022" v="92" actId="948"/>
        <pc:sldMkLst>
          <pc:docMk/>
          <pc:sldMk cId="3401314436" sldId="838841170"/>
        </pc:sldMkLst>
        <pc:spChg chg="mod">
          <ac:chgData name="Negrete, Maria (Titan Alpha)" userId="0a4ba534-701a-455c-bf6c-e730d0a01c09" providerId="ADAL" clId="{DFCEB9D2-06E6-4E97-8056-664425C16752}" dt="2022-12-02T17:35:51.469" v="31" actId="20577"/>
          <ac:spMkLst>
            <pc:docMk/>
            <pc:sldMk cId="3401314436" sldId="838841170"/>
            <ac:spMk id="2" creationId="{FFEF732C-E3EC-81EB-3BB7-400FD904B044}"/>
          </ac:spMkLst>
        </pc:spChg>
        <pc:graphicFrameChg chg="mod modGraphic">
          <ac:chgData name="Negrete, Maria (Titan Alpha)" userId="0a4ba534-701a-455c-bf6c-e730d0a01c09" providerId="ADAL" clId="{DFCEB9D2-06E6-4E97-8056-664425C16752}" dt="2022-12-02T18:53:43.022" v="92" actId="948"/>
          <ac:graphicFrameMkLst>
            <pc:docMk/>
            <pc:sldMk cId="3401314436" sldId="838841170"/>
            <ac:graphicFrameMk id="6" creationId="{B4E66A5B-5939-4A7B-A598-85C16654FFED}"/>
          </ac:graphicFrameMkLst>
        </pc:graphicFrameChg>
      </pc:sldChg>
      <pc:sldChg chg="delSp modSp mod">
        <pc:chgData name="Negrete, Maria (Titan Alpha)" userId="0a4ba534-701a-455c-bf6c-e730d0a01c09" providerId="ADAL" clId="{DFCEB9D2-06E6-4E97-8056-664425C16752}" dt="2022-12-02T21:10:48.116" v="509" actId="403"/>
        <pc:sldMkLst>
          <pc:docMk/>
          <pc:sldMk cId="2366223156" sldId="838841171"/>
        </pc:sldMkLst>
        <pc:spChg chg="mod">
          <ac:chgData name="Negrete, Maria (Titan Alpha)" userId="0a4ba534-701a-455c-bf6c-e730d0a01c09" providerId="ADAL" clId="{DFCEB9D2-06E6-4E97-8056-664425C16752}" dt="2022-12-02T19:08:34.233" v="174" actId="20577"/>
          <ac:spMkLst>
            <pc:docMk/>
            <pc:sldMk cId="2366223156" sldId="838841171"/>
            <ac:spMk id="2" creationId="{518ED66A-88CE-1365-F625-0493AEB395A0}"/>
          </ac:spMkLst>
        </pc:spChg>
        <pc:spChg chg="del">
          <ac:chgData name="Negrete, Maria (Titan Alpha)" userId="0a4ba534-701a-455c-bf6c-e730d0a01c09" providerId="ADAL" clId="{DFCEB9D2-06E6-4E97-8056-664425C16752}" dt="2022-12-02T17:35:59.563" v="32" actId="478"/>
          <ac:spMkLst>
            <pc:docMk/>
            <pc:sldMk cId="2366223156" sldId="838841171"/>
            <ac:spMk id="3" creationId="{5363EE06-3557-4256-0A26-C4B840F66724}"/>
          </ac:spMkLst>
        </pc:spChg>
        <pc:graphicFrameChg chg="modGraphic">
          <ac:chgData name="Negrete, Maria (Titan Alpha)" userId="0a4ba534-701a-455c-bf6c-e730d0a01c09" providerId="ADAL" clId="{DFCEB9D2-06E6-4E97-8056-664425C16752}" dt="2022-12-02T21:10:48.116" v="509" actId="403"/>
          <ac:graphicFrameMkLst>
            <pc:docMk/>
            <pc:sldMk cId="2366223156" sldId="838841171"/>
            <ac:graphicFrameMk id="6" creationId="{C143995F-68D5-4B1E-BDFC-D6065CE5B723}"/>
          </ac:graphicFrameMkLst>
        </pc:graphicFrameChg>
      </pc:sldChg>
      <pc:sldChg chg="modSp mod">
        <pc:chgData name="Negrete, Maria (Titan Alpha)" userId="0a4ba534-701a-455c-bf6c-e730d0a01c09" providerId="ADAL" clId="{DFCEB9D2-06E6-4E97-8056-664425C16752}" dt="2022-12-02T21:11:04.236" v="510" actId="1076"/>
        <pc:sldMkLst>
          <pc:docMk/>
          <pc:sldMk cId="1176425062" sldId="838841180"/>
        </pc:sldMkLst>
        <pc:spChg chg="mod">
          <ac:chgData name="Negrete, Maria (Titan Alpha)" userId="0a4ba534-701a-455c-bf6c-e730d0a01c09" providerId="ADAL" clId="{DFCEB9D2-06E6-4E97-8056-664425C16752}" dt="2022-12-02T19:08:23.490" v="173" actId="1076"/>
          <ac:spMkLst>
            <pc:docMk/>
            <pc:sldMk cId="1176425062" sldId="838841180"/>
            <ac:spMk id="4" creationId="{BBA492CE-9F04-5DEE-D797-AAE9BA3C6E0B}"/>
          </ac:spMkLst>
        </pc:spChg>
        <pc:picChg chg="mod">
          <ac:chgData name="Negrete, Maria (Titan Alpha)" userId="0a4ba534-701a-455c-bf6c-e730d0a01c09" providerId="ADAL" clId="{DFCEB9D2-06E6-4E97-8056-664425C16752}" dt="2022-12-02T21:11:04.236" v="510" actId="1076"/>
          <ac:picMkLst>
            <pc:docMk/>
            <pc:sldMk cId="1176425062" sldId="838841180"/>
            <ac:picMk id="6" creationId="{C1E5369C-C4C0-80C8-3CC4-C3C8D43768C7}"/>
          </ac:picMkLst>
        </pc:picChg>
      </pc:sldChg>
      <pc:sldChg chg="modSp mod">
        <pc:chgData name="Negrete, Maria (Titan Alpha)" userId="0a4ba534-701a-455c-bf6c-e730d0a01c09" providerId="ADAL" clId="{DFCEB9D2-06E6-4E97-8056-664425C16752}" dt="2022-12-02T17:36:51.500" v="39" actId="14100"/>
        <pc:sldMkLst>
          <pc:docMk/>
          <pc:sldMk cId="4194322645" sldId="838841181"/>
        </pc:sldMkLst>
        <pc:spChg chg="mod">
          <ac:chgData name="Negrete, Maria (Titan Alpha)" userId="0a4ba534-701a-455c-bf6c-e730d0a01c09" providerId="ADAL" clId="{DFCEB9D2-06E6-4E97-8056-664425C16752}" dt="2022-12-02T17:36:51.500" v="39" actId="14100"/>
          <ac:spMkLst>
            <pc:docMk/>
            <pc:sldMk cId="4194322645" sldId="838841181"/>
            <ac:spMk id="3" creationId="{E47DF335-6642-88AC-73E4-2E61F684DDC3}"/>
          </ac:spMkLst>
        </pc:spChg>
      </pc:sldChg>
      <pc:sldChg chg="modSp mod">
        <pc:chgData name="Negrete, Maria (Titan Alpha)" userId="0a4ba534-701a-455c-bf6c-e730d0a01c09" providerId="ADAL" clId="{DFCEB9D2-06E6-4E97-8056-664425C16752}" dt="2022-12-02T19:41:51.169" v="455" actId="6549"/>
        <pc:sldMkLst>
          <pc:docMk/>
          <pc:sldMk cId="3821358275" sldId="838841186"/>
        </pc:sldMkLst>
        <pc:spChg chg="mod">
          <ac:chgData name="Negrete, Maria (Titan Alpha)" userId="0a4ba534-701a-455c-bf6c-e730d0a01c09" providerId="ADAL" clId="{DFCEB9D2-06E6-4E97-8056-664425C16752}" dt="2022-12-02T19:41:51.169" v="455" actId="6549"/>
          <ac:spMkLst>
            <pc:docMk/>
            <pc:sldMk cId="3821358275" sldId="838841186"/>
            <ac:spMk id="8" creationId="{999BBCE3-1DB9-4340-97C2-4BB35C18E99B}"/>
          </ac:spMkLst>
        </pc:spChg>
      </pc:sldChg>
      <pc:sldChg chg="modSp mod">
        <pc:chgData name="Negrete, Maria (Titan Alpha)" userId="0a4ba534-701a-455c-bf6c-e730d0a01c09" providerId="ADAL" clId="{DFCEB9D2-06E6-4E97-8056-664425C16752}" dt="2022-12-02T17:33:23.572" v="13" actId="1076"/>
        <pc:sldMkLst>
          <pc:docMk/>
          <pc:sldMk cId="3659216667" sldId="838841189"/>
        </pc:sldMkLst>
        <pc:graphicFrameChg chg="mod">
          <ac:chgData name="Negrete, Maria (Titan Alpha)" userId="0a4ba534-701a-455c-bf6c-e730d0a01c09" providerId="ADAL" clId="{DFCEB9D2-06E6-4E97-8056-664425C16752}" dt="2022-12-02T17:33:23.572" v="13" actId="1076"/>
          <ac:graphicFrameMkLst>
            <pc:docMk/>
            <pc:sldMk cId="3659216667" sldId="838841189"/>
            <ac:graphicFrameMk id="5" creationId="{AE3181CE-B923-4F2A-A718-AF3489C4EA1E}"/>
          </ac:graphicFrameMkLst>
        </pc:graphicFrameChg>
      </pc:sldChg>
      <pc:sldChg chg="modSp mod">
        <pc:chgData name="Negrete, Maria (Titan Alpha)" userId="0a4ba534-701a-455c-bf6c-e730d0a01c09" providerId="ADAL" clId="{DFCEB9D2-06E6-4E97-8056-664425C16752}" dt="2022-12-05T13:21:43.993" v="529" actId="20577"/>
        <pc:sldMkLst>
          <pc:docMk/>
          <pc:sldMk cId="268270149" sldId="838841192"/>
        </pc:sldMkLst>
        <pc:spChg chg="mod">
          <ac:chgData name="Negrete, Maria (Titan Alpha)" userId="0a4ba534-701a-455c-bf6c-e730d0a01c09" providerId="ADAL" clId="{DFCEB9D2-06E6-4E97-8056-664425C16752}" dt="2022-12-05T13:21:43.993" v="529" actId="20577"/>
          <ac:spMkLst>
            <pc:docMk/>
            <pc:sldMk cId="268270149" sldId="838841192"/>
            <ac:spMk id="3" creationId="{64595852-F6F6-4331-96CB-6907FA751680}"/>
          </ac:spMkLst>
        </pc:spChg>
        <pc:spChg chg="mod">
          <ac:chgData name="Negrete, Maria (Titan Alpha)" userId="0a4ba534-701a-455c-bf6c-e730d0a01c09" providerId="ADAL" clId="{DFCEB9D2-06E6-4E97-8056-664425C16752}" dt="2022-12-05T13:20:28.283" v="525" actId="1076"/>
          <ac:spMkLst>
            <pc:docMk/>
            <pc:sldMk cId="268270149" sldId="838841192"/>
            <ac:spMk id="7" creationId="{0B470449-8325-45F2-A7B0-1037040189AE}"/>
          </ac:spMkLst>
        </pc:spChg>
      </pc:sldChg>
      <pc:sldChg chg="modSp mod">
        <pc:chgData name="Negrete, Maria (Titan Alpha)" userId="0a4ba534-701a-455c-bf6c-e730d0a01c09" providerId="ADAL" clId="{DFCEB9D2-06E6-4E97-8056-664425C16752}" dt="2022-12-02T17:32:31.821" v="6" actId="1076"/>
        <pc:sldMkLst>
          <pc:docMk/>
          <pc:sldMk cId="2206790986" sldId="838841195"/>
        </pc:sldMkLst>
        <pc:spChg chg="mod">
          <ac:chgData name="Negrete, Maria (Titan Alpha)" userId="0a4ba534-701a-455c-bf6c-e730d0a01c09" providerId="ADAL" clId="{DFCEB9D2-06E6-4E97-8056-664425C16752}" dt="2022-12-02T17:32:13.077" v="4" actId="14100"/>
          <ac:spMkLst>
            <pc:docMk/>
            <pc:sldMk cId="2206790986" sldId="838841195"/>
            <ac:spMk id="11" creationId="{44E20599-85C8-4DAF-8298-64D9EDF0801F}"/>
          </ac:spMkLst>
        </pc:spChg>
        <pc:picChg chg="mod">
          <ac:chgData name="Negrete, Maria (Titan Alpha)" userId="0a4ba534-701a-455c-bf6c-e730d0a01c09" providerId="ADAL" clId="{DFCEB9D2-06E6-4E97-8056-664425C16752}" dt="2022-12-02T17:32:31.821" v="6" actId="1076"/>
          <ac:picMkLst>
            <pc:docMk/>
            <pc:sldMk cId="2206790986" sldId="838841195"/>
            <ac:picMk id="7" creationId="{3A761AE4-B285-4626-B17C-846942584484}"/>
          </ac:picMkLst>
        </pc:picChg>
      </pc:sldChg>
      <pc:sldChg chg="modSp mod">
        <pc:chgData name="Negrete, Maria (Titan Alpha)" userId="0a4ba534-701a-455c-bf6c-e730d0a01c09" providerId="ADAL" clId="{DFCEB9D2-06E6-4E97-8056-664425C16752}" dt="2022-12-02T17:35:41.638" v="30" actId="1076"/>
        <pc:sldMkLst>
          <pc:docMk/>
          <pc:sldMk cId="2171040640" sldId="838841197"/>
        </pc:sldMkLst>
        <pc:spChg chg="mod">
          <ac:chgData name="Negrete, Maria (Titan Alpha)" userId="0a4ba534-701a-455c-bf6c-e730d0a01c09" providerId="ADAL" clId="{DFCEB9D2-06E6-4E97-8056-664425C16752}" dt="2022-12-02T17:35:41.638" v="30" actId="1076"/>
          <ac:spMkLst>
            <pc:docMk/>
            <pc:sldMk cId="2171040640" sldId="838841197"/>
            <ac:spMk id="7" creationId="{0B470449-8325-45F2-A7B0-1037040189AE}"/>
          </ac:spMkLst>
        </pc:spChg>
        <pc:spChg chg="mod">
          <ac:chgData name="Negrete, Maria (Titan Alpha)" userId="0a4ba534-701a-455c-bf6c-e730d0a01c09" providerId="ADAL" clId="{DFCEB9D2-06E6-4E97-8056-664425C16752}" dt="2022-12-02T17:35:26.104" v="27" actId="20577"/>
          <ac:spMkLst>
            <pc:docMk/>
            <pc:sldMk cId="2171040640" sldId="838841197"/>
            <ac:spMk id="8" creationId="{449E6DBC-7AA2-423E-B215-D0C62A1D5263}"/>
          </ac:spMkLst>
        </pc:spChg>
      </pc:sldChg>
      <pc:sldChg chg="modSp mod">
        <pc:chgData name="Negrete, Maria (Titan Alpha)" userId="0a4ba534-701a-455c-bf6c-e730d0a01c09" providerId="ADAL" clId="{DFCEB9D2-06E6-4E97-8056-664425C16752}" dt="2022-12-02T19:37:19.341" v="428" actId="14100"/>
        <pc:sldMkLst>
          <pc:docMk/>
          <pc:sldMk cId="1859310006" sldId="838841199"/>
        </pc:sldMkLst>
        <pc:spChg chg="mod ord">
          <ac:chgData name="Negrete, Maria (Titan Alpha)" userId="0a4ba534-701a-455c-bf6c-e730d0a01c09" providerId="ADAL" clId="{DFCEB9D2-06E6-4E97-8056-664425C16752}" dt="2022-12-02T19:37:19.341" v="428" actId="14100"/>
          <ac:spMkLst>
            <pc:docMk/>
            <pc:sldMk cId="1859310006" sldId="838841199"/>
            <ac:spMk id="3" creationId="{98D0DAB8-E9C9-4D22-8B67-4522ECAE5ABD}"/>
          </ac:spMkLst>
        </pc:spChg>
        <pc:picChg chg="mod">
          <ac:chgData name="Negrete, Maria (Titan Alpha)" userId="0a4ba534-701a-455c-bf6c-e730d0a01c09" providerId="ADAL" clId="{DFCEB9D2-06E6-4E97-8056-664425C16752}" dt="2022-12-02T19:36:50.169" v="425" actId="1076"/>
          <ac:picMkLst>
            <pc:docMk/>
            <pc:sldMk cId="1859310006" sldId="838841199"/>
            <ac:picMk id="9" creationId="{B4B1EF0D-4400-4FC8-8FE6-880A8F589062}"/>
          </ac:picMkLst>
        </pc:picChg>
      </pc:sldChg>
      <pc:sldChg chg="delSp modSp mod">
        <pc:chgData name="Negrete, Maria (Titan Alpha)" userId="0a4ba534-701a-455c-bf6c-e730d0a01c09" providerId="ADAL" clId="{DFCEB9D2-06E6-4E97-8056-664425C16752}" dt="2022-12-02T18:50:29.758" v="69" actId="404"/>
        <pc:sldMkLst>
          <pc:docMk/>
          <pc:sldMk cId="1251683407" sldId="838841205"/>
        </pc:sldMkLst>
        <pc:spChg chg="del">
          <ac:chgData name="Negrete, Maria (Titan Alpha)" userId="0a4ba534-701a-455c-bf6c-e730d0a01c09" providerId="ADAL" clId="{DFCEB9D2-06E6-4E97-8056-664425C16752}" dt="2022-12-02T17:32:49.816" v="8" actId="478"/>
          <ac:spMkLst>
            <pc:docMk/>
            <pc:sldMk cId="1251683407" sldId="838841205"/>
            <ac:spMk id="2" creationId="{6F5A34BB-F7E9-49F5-BB1E-1300F8FA6EB0}"/>
          </ac:spMkLst>
        </pc:spChg>
        <pc:spChg chg="mod">
          <ac:chgData name="Negrete, Maria (Titan Alpha)" userId="0a4ba534-701a-455c-bf6c-e730d0a01c09" providerId="ADAL" clId="{DFCEB9D2-06E6-4E97-8056-664425C16752}" dt="2022-12-02T18:50:29.758" v="69" actId="404"/>
          <ac:spMkLst>
            <pc:docMk/>
            <pc:sldMk cId="1251683407" sldId="838841205"/>
            <ac:spMk id="3" creationId="{22FEEDD8-5EA6-4067-B379-1DE2E8E2E57A}"/>
          </ac:spMkLst>
        </pc:spChg>
        <pc:spChg chg="mod">
          <ac:chgData name="Negrete, Maria (Titan Alpha)" userId="0a4ba534-701a-455c-bf6c-e730d0a01c09" providerId="ADAL" clId="{DFCEB9D2-06E6-4E97-8056-664425C16752}" dt="2022-12-02T17:32:54.182" v="9" actId="1076"/>
          <ac:spMkLst>
            <pc:docMk/>
            <pc:sldMk cId="1251683407" sldId="838841205"/>
            <ac:spMk id="7" creationId="{0B470449-8325-45F2-A7B0-1037040189AE}"/>
          </ac:spMkLst>
        </pc:spChg>
      </pc:sldChg>
      <pc:sldChg chg="addSp delSp modSp mod">
        <pc:chgData name="Negrete, Maria (Titan Alpha)" userId="0a4ba534-701a-455c-bf6c-e730d0a01c09" providerId="ADAL" clId="{DFCEB9D2-06E6-4E97-8056-664425C16752}" dt="2022-12-02T19:23:28.086" v="303" actId="1582"/>
        <pc:sldMkLst>
          <pc:docMk/>
          <pc:sldMk cId="14655231" sldId="838841209"/>
        </pc:sldMkLst>
        <pc:spChg chg="del mod">
          <ac:chgData name="Negrete, Maria (Titan Alpha)" userId="0a4ba534-701a-455c-bf6c-e730d0a01c09" providerId="ADAL" clId="{DFCEB9D2-06E6-4E97-8056-664425C16752}" dt="2022-12-02T19:16:26.526" v="255"/>
          <ac:spMkLst>
            <pc:docMk/>
            <pc:sldMk cId="14655231" sldId="838841209"/>
            <ac:spMk id="8" creationId="{D6165590-1C3D-C745-8705-DF702DD488B9}"/>
          </ac:spMkLst>
        </pc:spChg>
        <pc:graphicFrameChg chg="add mod modGraphic">
          <ac:chgData name="Negrete, Maria (Titan Alpha)" userId="0a4ba534-701a-455c-bf6c-e730d0a01c09" providerId="ADAL" clId="{DFCEB9D2-06E6-4E97-8056-664425C16752}" dt="2022-12-02T19:16:45.147" v="257"/>
          <ac:graphicFrameMkLst>
            <pc:docMk/>
            <pc:sldMk cId="14655231" sldId="838841209"/>
            <ac:graphicFrameMk id="9" creationId="{4022D660-D0D7-4876-8929-BFE5830FBEA0}"/>
          </ac:graphicFrameMkLst>
        </pc:graphicFrameChg>
        <pc:picChg chg="mod">
          <ac:chgData name="Negrete, Maria (Titan Alpha)" userId="0a4ba534-701a-455c-bf6c-e730d0a01c09" providerId="ADAL" clId="{DFCEB9D2-06E6-4E97-8056-664425C16752}" dt="2022-12-02T19:23:28.086" v="303" actId="1582"/>
          <ac:picMkLst>
            <pc:docMk/>
            <pc:sldMk cId="14655231" sldId="838841209"/>
            <ac:picMk id="7" creationId="{374F7CC8-6CA6-14D7-01E2-2683BEB4F1B7}"/>
          </ac:picMkLst>
        </pc:picChg>
      </pc:sldChg>
      <pc:sldChg chg="modSp mod">
        <pc:chgData name="Negrete, Maria (Titan Alpha)" userId="0a4ba534-701a-455c-bf6c-e730d0a01c09" providerId="ADAL" clId="{DFCEB9D2-06E6-4E97-8056-664425C16752}" dt="2022-12-05T13:24:19.911" v="540" actId="20577"/>
        <pc:sldMkLst>
          <pc:docMk/>
          <pc:sldMk cId="919342513" sldId="838841210"/>
        </pc:sldMkLst>
        <pc:spChg chg="mod">
          <ac:chgData name="Negrete, Maria (Titan Alpha)" userId="0a4ba534-701a-455c-bf6c-e730d0a01c09" providerId="ADAL" clId="{DFCEB9D2-06E6-4E97-8056-664425C16752}" dt="2022-12-05T13:24:19.911" v="540" actId="20577"/>
          <ac:spMkLst>
            <pc:docMk/>
            <pc:sldMk cId="919342513" sldId="838841210"/>
            <ac:spMk id="3" creationId="{662C8F4E-D25F-DA71-8A49-07535A2FD016}"/>
          </ac:spMkLst>
        </pc:spChg>
      </pc:sldChg>
      <pc:sldChg chg="modSp mod">
        <pc:chgData name="Negrete, Maria (Titan Alpha)" userId="0a4ba534-701a-455c-bf6c-e730d0a01c09" providerId="ADAL" clId="{DFCEB9D2-06E6-4E97-8056-664425C16752}" dt="2022-12-02T19:24:27.916" v="305" actId="1582"/>
        <pc:sldMkLst>
          <pc:docMk/>
          <pc:sldMk cId="1723166317" sldId="838841211"/>
        </pc:sldMkLst>
        <pc:picChg chg="mod">
          <ac:chgData name="Negrete, Maria (Titan Alpha)" userId="0a4ba534-701a-455c-bf6c-e730d0a01c09" providerId="ADAL" clId="{DFCEB9D2-06E6-4E97-8056-664425C16752}" dt="2022-12-02T19:24:27.916" v="305" actId="1582"/>
          <ac:picMkLst>
            <pc:docMk/>
            <pc:sldMk cId="1723166317" sldId="838841211"/>
            <ac:picMk id="10" creationId="{9D374CFF-4CE3-306F-5A81-1B6CA4C72EF1}"/>
          </ac:picMkLst>
        </pc:picChg>
      </pc:sldChg>
      <pc:sldChg chg="modSp mod">
        <pc:chgData name="Negrete, Maria (Titan Alpha)" userId="0a4ba534-701a-455c-bf6c-e730d0a01c09" providerId="ADAL" clId="{DFCEB9D2-06E6-4E97-8056-664425C16752}" dt="2022-12-02T21:12:32.256" v="512" actId="20577"/>
        <pc:sldMkLst>
          <pc:docMk/>
          <pc:sldMk cId="2166474339" sldId="838841212"/>
        </pc:sldMkLst>
        <pc:spChg chg="mod">
          <ac:chgData name="Negrete, Maria (Titan Alpha)" userId="0a4ba534-701a-455c-bf6c-e730d0a01c09" providerId="ADAL" clId="{DFCEB9D2-06E6-4E97-8056-664425C16752}" dt="2022-12-02T21:12:32.256" v="512" actId="20577"/>
          <ac:spMkLst>
            <pc:docMk/>
            <pc:sldMk cId="2166474339" sldId="838841212"/>
            <ac:spMk id="6" creationId="{74693377-7992-46DE-A0F2-9888B9FA4AED}"/>
          </ac:spMkLst>
        </pc:spChg>
        <pc:picChg chg="mod">
          <ac:chgData name="Negrete, Maria (Titan Alpha)" userId="0a4ba534-701a-455c-bf6c-e730d0a01c09" providerId="ADAL" clId="{DFCEB9D2-06E6-4E97-8056-664425C16752}" dt="2022-12-02T19:31:27.252" v="387" actId="692"/>
          <ac:picMkLst>
            <pc:docMk/>
            <pc:sldMk cId="2166474339" sldId="838841212"/>
            <ac:picMk id="3" creationId="{0AB1A725-7DA8-68AA-B6CB-34BF025A39C6}"/>
          </ac:picMkLst>
        </pc:picChg>
      </pc:sldChg>
      <pc:sldChg chg="modSp mod">
        <pc:chgData name="Negrete, Maria (Titan Alpha)" userId="0a4ba534-701a-455c-bf6c-e730d0a01c09" providerId="ADAL" clId="{DFCEB9D2-06E6-4E97-8056-664425C16752}" dt="2022-12-02T19:36:21.589" v="422" actId="20577"/>
        <pc:sldMkLst>
          <pc:docMk/>
          <pc:sldMk cId="1683637766" sldId="838841213"/>
        </pc:sldMkLst>
        <pc:spChg chg="mod">
          <ac:chgData name="Negrete, Maria (Titan Alpha)" userId="0a4ba534-701a-455c-bf6c-e730d0a01c09" providerId="ADAL" clId="{DFCEB9D2-06E6-4E97-8056-664425C16752}" dt="2022-12-02T19:35:49.933" v="415" actId="692"/>
          <ac:spMkLst>
            <pc:docMk/>
            <pc:sldMk cId="1683637766" sldId="838841213"/>
            <ac:spMk id="7" creationId="{363BA744-55B6-183F-769A-170FAE943222}"/>
          </ac:spMkLst>
        </pc:spChg>
        <pc:spChg chg="mod">
          <ac:chgData name="Negrete, Maria (Titan Alpha)" userId="0a4ba534-701a-455c-bf6c-e730d0a01c09" providerId="ADAL" clId="{DFCEB9D2-06E6-4E97-8056-664425C16752}" dt="2022-12-02T19:36:21.589" v="422" actId="20577"/>
          <ac:spMkLst>
            <pc:docMk/>
            <pc:sldMk cId="1683637766" sldId="838841213"/>
            <ac:spMk id="9" creationId="{8653023F-3F83-A59D-2B8C-0C32E6D12B3C}"/>
          </ac:spMkLst>
        </pc:spChg>
        <pc:picChg chg="mod">
          <ac:chgData name="Negrete, Maria (Titan Alpha)" userId="0a4ba534-701a-455c-bf6c-e730d0a01c09" providerId="ADAL" clId="{DFCEB9D2-06E6-4E97-8056-664425C16752}" dt="2022-12-02T19:35:27.145" v="410" actId="692"/>
          <ac:picMkLst>
            <pc:docMk/>
            <pc:sldMk cId="1683637766" sldId="838841213"/>
            <ac:picMk id="3" creationId="{0181398F-7417-F8BD-4DBF-A283FE73EA09}"/>
          </ac:picMkLst>
        </pc:picChg>
        <pc:picChg chg="mod">
          <ac:chgData name="Negrete, Maria (Titan Alpha)" userId="0a4ba534-701a-455c-bf6c-e730d0a01c09" providerId="ADAL" clId="{DFCEB9D2-06E6-4E97-8056-664425C16752}" dt="2022-12-02T19:36:10.391" v="420" actId="1076"/>
          <ac:picMkLst>
            <pc:docMk/>
            <pc:sldMk cId="1683637766" sldId="838841213"/>
            <ac:picMk id="8" creationId="{AF10F384-0049-8FFD-4097-1F2E618F7336}"/>
          </ac:picMkLst>
        </pc:picChg>
      </pc:sldChg>
      <pc:sldChg chg="addSp delSp modSp mod">
        <pc:chgData name="Negrete, Maria (Titan Alpha)" userId="0a4ba534-701a-455c-bf6c-e730d0a01c09" providerId="ADAL" clId="{DFCEB9D2-06E6-4E97-8056-664425C16752}" dt="2022-12-02T19:18:24.213" v="261" actId="1582"/>
        <pc:sldMkLst>
          <pc:docMk/>
          <pc:sldMk cId="3247358776" sldId="838841214"/>
        </pc:sldMkLst>
        <pc:spChg chg="del mod">
          <ac:chgData name="Negrete, Maria (Titan Alpha)" userId="0a4ba534-701a-455c-bf6c-e730d0a01c09" providerId="ADAL" clId="{DFCEB9D2-06E6-4E97-8056-664425C16752}" dt="2022-12-02T18:55:38.744" v="102" actId="478"/>
          <ac:spMkLst>
            <pc:docMk/>
            <pc:sldMk cId="3247358776" sldId="838841214"/>
            <ac:spMk id="12" creationId="{33D4FA76-0FF4-0271-F45C-5D298EF0AC9A}"/>
          </ac:spMkLst>
        </pc:spChg>
        <pc:graphicFrameChg chg="add del">
          <ac:chgData name="Negrete, Maria (Titan Alpha)" userId="0a4ba534-701a-455c-bf6c-e730d0a01c09" providerId="ADAL" clId="{DFCEB9D2-06E6-4E97-8056-664425C16752}" dt="2022-12-02T18:54:44.065" v="96" actId="3680"/>
          <ac:graphicFrameMkLst>
            <pc:docMk/>
            <pc:sldMk cId="3247358776" sldId="838841214"/>
            <ac:graphicFrameMk id="3" creationId="{70939DEB-DDBB-4F9D-BFF6-4844404A68BE}"/>
          </ac:graphicFrameMkLst>
        </pc:graphicFrameChg>
        <pc:graphicFrameChg chg="add mod modGraphic">
          <ac:chgData name="Negrete, Maria (Titan Alpha)" userId="0a4ba534-701a-455c-bf6c-e730d0a01c09" providerId="ADAL" clId="{DFCEB9D2-06E6-4E97-8056-664425C16752}" dt="2022-12-02T19:08:49.293" v="179" actId="1037"/>
          <ac:graphicFrameMkLst>
            <pc:docMk/>
            <pc:sldMk cId="3247358776" sldId="838841214"/>
            <ac:graphicFrameMk id="6" creationId="{E9E9C249-6C53-4241-B2CB-B6EE67B99201}"/>
          </ac:graphicFrameMkLst>
        </pc:graphicFrameChg>
        <pc:picChg chg="mod">
          <ac:chgData name="Negrete, Maria (Titan Alpha)" userId="0a4ba534-701a-455c-bf6c-e730d0a01c09" providerId="ADAL" clId="{DFCEB9D2-06E6-4E97-8056-664425C16752}" dt="2022-12-02T19:18:24.213" v="261" actId="1582"/>
          <ac:picMkLst>
            <pc:docMk/>
            <pc:sldMk cId="3247358776" sldId="838841214"/>
            <ac:picMk id="10" creationId="{E4F23683-BE53-3426-9803-41BDC2E4CB08}"/>
          </ac:picMkLst>
        </pc:picChg>
      </pc:sldChg>
      <pc:sldChg chg="addSp delSp modSp mod">
        <pc:chgData name="Negrete, Maria (Titan Alpha)" userId="0a4ba534-701a-455c-bf6c-e730d0a01c09" providerId="ADAL" clId="{DFCEB9D2-06E6-4E97-8056-664425C16752}" dt="2022-12-02T19:22:54.103" v="301" actId="1582"/>
        <pc:sldMkLst>
          <pc:docMk/>
          <pc:sldMk cId="4085233566" sldId="838841215"/>
        </pc:sldMkLst>
        <pc:spChg chg="del mod">
          <ac:chgData name="Negrete, Maria (Titan Alpha)" userId="0a4ba534-701a-455c-bf6c-e730d0a01c09" providerId="ADAL" clId="{DFCEB9D2-06E6-4E97-8056-664425C16752}" dt="2022-12-02T19:11:51.976" v="204" actId="478"/>
          <ac:spMkLst>
            <pc:docMk/>
            <pc:sldMk cId="4085233566" sldId="838841215"/>
            <ac:spMk id="7" creationId="{D4463681-0C47-CC8D-D2E4-C1FA5B69A1BD}"/>
          </ac:spMkLst>
        </pc:spChg>
        <pc:graphicFrameChg chg="add mod modGraphic">
          <ac:chgData name="Negrete, Maria (Titan Alpha)" userId="0a4ba534-701a-455c-bf6c-e730d0a01c09" providerId="ADAL" clId="{DFCEB9D2-06E6-4E97-8056-664425C16752}" dt="2022-12-02T19:13:38.660" v="233" actId="1076"/>
          <ac:graphicFrameMkLst>
            <pc:docMk/>
            <pc:sldMk cId="4085233566" sldId="838841215"/>
            <ac:graphicFrameMk id="8" creationId="{FF83315F-C8A1-494A-B287-B8CCEFC7C0C4}"/>
          </ac:graphicFrameMkLst>
        </pc:graphicFrameChg>
        <pc:picChg chg="mod">
          <ac:chgData name="Negrete, Maria (Titan Alpha)" userId="0a4ba534-701a-455c-bf6c-e730d0a01c09" providerId="ADAL" clId="{DFCEB9D2-06E6-4E97-8056-664425C16752}" dt="2022-12-02T19:22:54.103" v="301" actId="1582"/>
          <ac:picMkLst>
            <pc:docMk/>
            <pc:sldMk cId="4085233566" sldId="838841215"/>
            <ac:picMk id="6" creationId="{6BA96F57-41C3-7546-FB19-7AE8C044F14A}"/>
          </ac:picMkLst>
        </pc:picChg>
      </pc:sldChg>
      <pc:sldChg chg="addSp delSp modSp mod">
        <pc:chgData name="Negrete, Maria (Titan Alpha)" userId="0a4ba534-701a-455c-bf6c-e730d0a01c09" providerId="ADAL" clId="{DFCEB9D2-06E6-4E97-8056-664425C16752}" dt="2022-12-02T19:22:28.249" v="299" actId="14100"/>
        <pc:sldMkLst>
          <pc:docMk/>
          <pc:sldMk cId="1891851091" sldId="838841216"/>
        </pc:sldMkLst>
        <pc:spChg chg="del mod">
          <ac:chgData name="Negrete, Maria (Titan Alpha)" userId="0a4ba534-701a-455c-bf6c-e730d0a01c09" providerId="ADAL" clId="{DFCEB9D2-06E6-4E97-8056-664425C16752}" dt="2022-12-02T19:00:33.522" v="165" actId="478"/>
          <ac:spMkLst>
            <pc:docMk/>
            <pc:sldMk cId="1891851091" sldId="838841216"/>
            <ac:spMk id="8" creationId="{27FE0976-895D-7523-5961-152C0A010EB1}"/>
          </ac:spMkLst>
        </pc:spChg>
        <pc:graphicFrameChg chg="add mod modGraphic">
          <ac:chgData name="Negrete, Maria (Titan Alpha)" userId="0a4ba534-701a-455c-bf6c-e730d0a01c09" providerId="ADAL" clId="{DFCEB9D2-06E6-4E97-8056-664425C16752}" dt="2022-12-02T19:21:54.370" v="294" actId="1076"/>
          <ac:graphicFrameMkLst>
            <pc:docMk/>
            <pc:sldMk cId="1891851091" sldId="838841216"/>
            <ac:graphicFrameMk id="11" creationId="{B83D44E0-E56E-4FAD-80B5-AAF7A956B546}"/>
          </ac:graphicFrameMkLst>
        </pc:graphicFrameChg>
        <pc:picChg chg="mod">
          <ac:chgData name="Negrete, Maria (Titan Alpha)" userId="0a4ba534-701a-455c-bf6c-e730d0a01c09" providerId="ADAL" clId="{DFCEB9D2-06E6-4E97-8056-664425C16752}" dt="2022-12-02T19:22:03.332" v="295" actId="1076"/>
          <ac:picMkLst>
            <pc:docMk/>
            <pc:sldMk cId="1891851091" sldId="838841216"/>
            <ac:picMk id="6" creationId="{CBE04821-82ED-E7BA-0B1F-4ACC94415FA2}"/>
          </ac:picMkLst>
        </pc:picChg>
        <pc:cxnChg chg="mod">
          <ac:chgData name="Negrete, Maria (Titan Alpha)" userId="0a4ba534-701a-455c-bf6c-e730d0a01c09" providerId="ADAL" clId="{DFCEB9D2-06E6-4E97-8056-664425C16752}" dt="2022-12-02T19:22:28.249" v="299" actId="14100"/>
          <ac:cxnSpMkLst>
            <pc:docMk/>
            <pc:sldMk cId="1891851091" sldId="838841216"/>
            <ac:cxnSpMk id="9" creationId="{DE3C7329-FBA1-F726-1AC8-596CC94E3A26}"/>
          </ac:cxnSpMkLst>
        </pc:cxnChg>
        <pc:cxnChg chg="mod">
          <ac:chgData name="Negrete, Maria (Titan Alpha)" userId="0a4ba534-701a-455c-bf6c-e730d0a01c09" providerId="ADAL" clId="{DFCEB9D2-06E6-4E97-8056-664425C16752}" dt="2022-12-02T19:22:15.805" v="297" actId="14100"/>
          <ac:cxnSpMkLst>
            <pc:docMk/>
            <pc:sldMk cId="1891851091" sldId="838841216"/>
            <ac:cxnSpMk id="10" creationId="{9598F59F-7E02-7303-6079-12BA7C73C798}"/>
          </ac:cxnSpMkLst>
        </pc:cxnChg>
      </pc:sldChg>
      <pc:sldChg chg="addSp delSp modSp mod">
        <pc:chgData name="Negrete, Maria (Titan Alpha)" userId="0a4ba534-701a-455c-bf6c-e730d0a01c09" providerId="ADAL" clId="{DFCEB9D2-06E6-4E97-8056-664425C16752}" dt="2022-12-02T19:21:07.402" v="288" actId="14100"/>
        <pc:sldMkLst>
          <pc:docMk/>
          <pc:sldMk cId="422101721" sldId="838841217"/>
        </pc:sldMkLst>
        <pc:spChg chg="del mod">
          <ac:chgData name="Negrete, Maria (Titan Alpha)" userId="0a4ba534-701a-455c-bf6c-e730d0a01c09" providerId="ADAL" clId="{DFCEB9D2-06E6-4E97-8056-664425C16752}" dt="2022-12-02T18:58:08.710" v="126" actId="478"/>
          <ac:spMkLst>
            <pc:docMk/>
            <pc:sldMk cId="422101721" sldId="838841217"/>
            <ac:spMk id="3" creationId="{C872552E-BFBC-1E6A-8A00-216FD8B1311C}"/>
          </ac:spMkLst>
        </pc:spChg>
        <pc:spChg chg="add del mod">
          <ac:chgData name="Negrete, Maria (Titan Alpha)" userId="0a4ba534-701a-455c-bf6c-e730d0a01c09" providerId="ADAL" clId="{DFCEB9D2-06E6-4E97-8056-664425C16752}" dt="2022-12-02T18:58:19.385" v="127" actId="478"/>
          <ac:spMkLst>
            <pc:docMk/>
            <pc:sldMk cId="422101721" sldId="838841217"/>
            <ac:spMk id="10" creationId="{24634288-26D2-4C09-87F4-86D2CF9403D4}"/>
          </ac:spMkLst>
        </pc:spChg>
        <pc:graphicFrameChg chg="add mod modGraphic">
          <ac:chgData name="Negrete, Maria (Titan Alpha)" userId="0a4ba534-701a-455c-bf6c-e730d0a01c09" providerId="ADAL" clId="{DFCEB9D2-06E6-4E97-8056-664425C16752}" dt="2022-12-02T19:20:49.298" v="287" actId="14734"/>
          <ac:graphicFrameMkLst>
            <pc:docMk/>
            <pc:sldMk cId="422101721" sldId="838841217"/>
            <ac:graphicFrameMk id="8" creationId="{A7C47878-AA89-4E7B-948F-187459CC1504}"/>
          </ac:graphicFrameMkLst>
        </pc:graphicFrameChg>
        <pc:picChg chg="mod">
          <ac:chgData name="Negrete, Maria (Titan Alpha)" userId="0a4ba534-701a-455c-bf6c-e730d0a01c09" providerId="ADAL" clId="{DFCEB9D2-06E6-4E97-8056-664425C16752}" dt="2022-12-02T19:21:07.402" v="288" actId="14100"/>
          <ac:picMkLst>
            <pc:docMk/>
            <pc:sldMk cId="422101721" sldId="838841217"/>
            <ac:picMk id="6" creationId="{E8024880-95B6-7C3C-0CD2-723E8B5B8FF5}"/>
          </ac:picMkLst>
        </pc:picChg>
        <pc:cxnChg chg="mod">
          <ac:chgData name="Negrete, Maria (Titan Alpha)" userId="0a4ba534-701a-455c-bf6c-e730d0a01c09" providerId="ADAL" clId="{DFCEB9D2-06E6-4E97-8056-664425C16752}" dt="2022-12-02T19:20:42.068" v="286" actId="14100"/>
          <ac:cxnSpMkLst>
            <pc:docMk/>
            <pc:sldMk cId="422101721" sldId="838841217"/>
            <ac:cxnSpMk id="7" creationId="{E607661B-F550-D286-296F-9ACC54F4EB0B}"/>
          </ac:cxnSpMkLst>
        </pc:cxnChg>
      </pc:sldChg>
      <pc:sldChg chg="addSp delSp modSp mod">
        <pc:chgData name="Negrete, Maria (Titan Alpha)" userId="0a4ba534-701a-455c-bf6c-e730d0a01c09" providerId="ADAL" clId="{DFCEB9D2-06E6-4E97-8056-664425C16752}" dt="2022-12-02T19:29:38.206" v="360" actId="1076"/>
        <pc:sldMkLst>
          <pc:docMk/>
          <pc:sldMk cId="3706469346" sldId="838841218"/>
        </pc:sldMkLst>
        <pc:spChg chg="add del mod">
          <ac:chgData name="Negrete, Maria (Titan Alpha)" userId="0a4ba534-701a-455c-bf6c-e730d0a01c09" providerId="ADAL" clId="{DFCEB9D2-06E6-4E97-8056-664425C16752}" dt="2022-12-02T19:29:38.206" v="360" actId="1076"/>
          <ac:spMkLst>
            <pc:docMk/>
            <pc:sldMk cId="3706469346" sldId="838841218"/>
            <ac:spMk id="7" creationId="{F38BC619-6082-96F2-D86E-548E7925E992}"/>
          </ac:spMkLst>
        </pc:spChg>
        <pc:graphicFrameChg chg="add del mod modGraphic">
          <ac:chgData name="Negrete, Maria (Titan Alpha)" userId="0a4ba534-701a-455c-bf6c-e730d0a01c09" providerId="ADAL" clId="{DFCEB9D2-06E6-4E97-8056-664425C16752}" dt="2022-12-02T19:28:06.107" v="346"/>
          <ac:graphicFrameMkLst>
            <pc:docMk/>
            <pc:sldMk cId="3706469346" sldId="838841218"/>
            <ac:graphicFrameMk id="8" creationId="{E12C4E04-E84F-415D-819A-5A96C0FA2208}"/>
          </ac:graphicFrameMkLst>
        </pc:graphicFrameChg>
        <pc:picChg chg="mod">
          <ac:chgData name="Negrete, Maria (Titan Alpha)" userId="0a4ba534-701a-455c-bf6c-e730d0a01c09" providerId="ADAL" clId="{DFCEB9D2-06E6-4E97-8056-664425C16752}" dt="2022-12-02T19:29:33.521" v="359" actId="1076"/>
          <ac:picMkLst>
            <pc:docMk/>
            <pc:sldMk cId="3706469346" sldId="838841218"/>
            <ac:picMk id="13" creationId="{E200EA0C-DCDB-70BA-251D-9D3B633E3813}"/>
          </ac:picMkLst>
        </pc:picChg>
      </pc:sldChg>
      <pc:sldChg chg="modSp mod">
        <pc:chgData name="Negrete, Maria (Titan Alpha)" userId="0a4ba534-701a-455c-bf6c-e730d0a01c09" providerId="ADAL" clId="{DFCEB9D2-06E6-4E97-8056-664425C16752}" dt="2022-12-02T19:30:15.837" v="370" actId="692"/>
        <pc:sldMkLst>
          <pc:docMk/>
          <pc:sldMk cId="970569617" sldId="838841219"/>
        </pc:sldMkLst>
        <pc:spChg chg="mod">
          <ac:chgData name="Negrete, Maria (Titan Alpha)" userId="0a4ba534-701a-455c-bf6c-e730d0a01c09" providerId="ADAL" clId="{DFCEB9D2-06E6-4E97-8056-664425C16752}" dt="2022-12-02T19:30:15.837" v="370" actId="692"/>
          <ac:spMkLst>
            <pc:docMk/>
            <pc:sldMk cId="970569617" sldId="838841219"/>
            <ac:spMk id="7" creationId="{635A4168-240A-7F2C-C4C9-66A428FA125F}"/>
          </ac:spMkLst>
        </pc:spChg>
      </pc:sldChg>
      <pc:sldChg chg="modSp mod">
        <pc:chgData name="Negrete, Maria (Titan Alpha)" userId="0a4ba534-701a-455c-bf6c-e730d0a01c09" providerId="ADAL" clId="{DFCEB9D2-06E6-4E97-8056-664425C16752}" dt="2022-12-02T19:30:53.058" v="382" actId="1076"/>
        <pc:sldMkLst>
          <pc:docMk/>
          <pc:sldMk cId="2438305302" sldId="838841220"/>
        </pc:sldMkLst>
        <pc:spChg chg="mod">
          <ac:chgData name="Negrete, Maria (Titan Alpha)" userId="0a4ba534-701a-455c-bf6c-e730d0a01c09" providerId="ADAL" clId="{DFCEB9D2-06E6-4E97-8056-664425C16752}" dt="2022-12-02T19:30:27.290" v="380" actId="692"/>
          <ac:spMkLst>
            <pc:docMk/>
            <pc:sldMk cId="2438305302" sldId="838841220"/>
            <ac:spMk id="7" creationId="{D66E3AA3-0289-2F01-56A0-840D182742E1}"/>
          </ac:spMkLst>
        </pc:spChg>
        <pc:picChg chg="mod">
          <ac:chgData name="Negrete, Maria (Titan Alpha)" userId="0a4ba534-701a-455c-bf6c-e730d0a01c09" providerId="ADAL" clId="{DFCEB9D2-06E6-4E97-8056-664425C16752}" dt="2022-12-02T19:30:53.058" v="382" actId="1076"/>
          <ac:picMkLst>
            <pc:docMk/>
            <pc:sldMk cId="2438305302" sldId="838841220"/>
            <ac:picMk id="10" creationId="{C873E32D-19BA-318C-D687-42D010D02D30}"/>
          </ac:picMkLst>
        </pc:picChg>
      </pc:sldChg>
      <pc:sldChg chg="delSp modSp mod">
        <pc:chgData name="Negrete, Maria (Titan Alpha)" userId="0a4ba534-701a-455c-bf6c-e730d0a01c09" providerId="ADAL" clId="{DFCEB9D2-06E6-4E97-8056-664425C16752}" dt="2022-12-02T21:12:25.758" v="511" actId="478"/>
        <pc:sldMkLst>
          <pc:docMk/>
          <pc:sldMk cId="4053134620" sldId="838841221"/>
        </pc:sldMkLst>
        <pc:spChg chg="del">
          <ac:chgData name="Negrete, Maria (Titan Alpha)" userId="0a4ba534-701a-455c-bf6c-e730d0a01c09" providerId="ADAL" clId="{DFCEB9D2-06E6-4E97-8056-664425C16752}" dt="2022-12-02T21:12:25.758" v="511" actId="478"/>
          <ac:spMkLst>
            <pc:docMk/>
            <pc:sldMk cId="4053134620" sldId="838841221"/>
            <ac:spMk id="3" creationId="{F9E9D2B0-D61C-4190-ED49-98BA8445BA80}"/>
          </ac:spMkLst>
        </pc:spChg>
        <pc:spChg chg="mod">
          <ac:chgData name="Negrete, Maria (Titan Alpha)" userId="0a4ba534-701a-455c-bf6c-e730d0a01c09" providerId="ADAL" clId="{DFCEB9D2-06E6-4E97-8056-664425C16752}" dt="2022-12-02T19:31:15.690" v="385" actId="403"/>
          <ac:spMkLst>
            <pc:docMk/>
            <pc:sldMk cId="4053134620" sldId="838841221"/>
            <ac:spMk id="8" creationId="{1C35EF09-7FC8-ACD0-6480-BCE4FA58D6B8}"/>
          </ac:spMkLst>
        </pc:spChg>
      </pc:sldChg>
      <pc:sldChg chg="modSp mod">
        <pc:chgData name="Negrete, Maria (Titan Alpha)" userId="0a4ba534-701a-455c-bf6c-e730d0a01c09" providerId="ADAL" clId="{DFCEB9D2-06E6-4E97-8056-664425C16752}" dt="2022-12-02T19:34:42.114" v="405" actId="404"/>
        <pc:sldMkLst>
          <pc:docMk/>
          <pc:sldMk cId="2704330361" sldId="838841222"/>
        </pc:sldMkLst>
        <pc:spChg chg="mod">
          <ac:chgData name="Negrete, Maria (Titan Alpha)" userId="0a4ba534-701a-455c-bf6c-e730d0a01c09" providerId="ADAL" clId="{DFCEB9D2-06E6-4E97-8056-664425C16752}" dt="2022-12-02T19:34:42.114" v="405" actId="404"/>
          <ac:spMkLst>
            <pc:docMk/>
            <pc:sldMk cId="2704330361" sldId="838841222"/>
            <ac:spMk id="3" creationId="{7DCAC89B-F9FA-6965-F1FB-3CFCC7DB7C0C}"/>
          </ac:spMkLst>
        </pc:spChg>
        <pc:picChg chg="mod">
          <ac:chgData name="Negrete, Maria (Titan Alpha)" userId="0a4ba534-701a-455c-bf6c-e730d0a01c09" providerId="ADAL" clId="{DFCEB9D2-06E6-4E97-8056-664425C16752}" dt="2022-12-02T19:31:51.406" v="390" actId="14100"/>
          <ac:picMkLst>
            <pc:docMk/>
            <pc:sldMk cId="2704330361" sldId="838841222"/>
            <ac:picMk id="6" creationId="{89F3DD8F-18FB-8F7E-8C00-BB38C38FF763}"/>
          </ac:picMkLst>
        </pc:picChg>
      </pc:sldChg>
      <pc:sldChg chg="modSp mod">
        <pc:chgData name="Negrete, Maria (Titan Alpha)" userId="0a4ba534-701a-455c-bf6c-e730d0a01c09" providerId="ADAL" clId="{DFCEB9D2-06E6-4E97-8056-664425C16752}" dt="2022-12-02T19:38:16.235" v="435" actId="6549"/>
        <pc:sldMkLst>
          <pc:docMk/>
          <pc:sldMk cId="879697680" sldId="838841223"/>
        </pc:sldMkLst>
        <pc:spChg chg="mod">
          <ac:chgData name="Negrete, Maria (Titan Alpha)" userId="0a4ba534-701a-455c-bf6c-e730d0a01c09" providerId="ADAL" clId="{DFCEB9D2-06E6-4E97-8056-664425C16752}" dt="2022-12-02T19:38:16.235" v="435" actId="6549"/>
          <ac:spMkLst>
            <pc:docMk/>
            <pc:sldMk cId="879697680" sldId="838841223"/>
            <ac:spMk id="3" creationId="{D7D0F4A9-C8A1-38FB-DAE0-8CCEE9554A48}"/>
          </ac:spMkLst>
        </pc:spChg>
      </pc:sldChg>
      <pc:sldChg chg="modSp mod">
        <pc:chgData name="Negrete, Maria (Titan Alpha)" userId="0a4ba534-701a-455c-bf6c-e730d0a01c09" providerId="ADAL" clId="{DFCEB9D2-06E6-4E97-8056-664425C16752}" dt="2022-12-02T19:35:10.274" v="408" actId="6549"/>
        <pc:sldMkLst>
          <pc:docMk/>
          <pc:sldMk cId="2863733230" sldId="838841224"/>
        </pc:sldMkLst>
        <pc:spChg chg="mod">
          <ac:chgData name="Negrete, Maria (Titan Alpha)" userId="0a4ba534-701a-455c-bf6c-e730d0a01c09" providerId="ADAL" clId="{DFCEB9D2-06E6-4E97-8056-664425C16752}" dt="2022-12-02T19:35:10.274" v="408" actId="6549"/>
          <ac:spMkLst>
            <pc:docMk/>
            <pc:sldMk cId="2863733230" sldId="838841224"/>
            <ac:spMk id="3" creationId="{D25E0218-A8A8-E3AF-BD3D-75406A013B9F}"/>
          </ac:spMkLst>
        </pc:spChg>
      </pc:sldChg>
      <pc:sldChg chg="modSp mod">
        <pc:chgData name="Negrete, Maria (Titan Alpha)" userId="0a4ba534-701a-455c-bf6c-e730d0a01c09" providerId="ADAL" clId="{DFCEB9D2-06E6-4E97-8056-664425C16752}" dt="2022-12-02T19:39:33.240" v="440" actId="20577"/>
        <pc:sldMkLst>
          <pc:docMk/>
          <pc:sldMk cId="2648536608" sldId="838841225"/>
        </pc:sldMkLst>
        <pc:spChg chg="mod">
          <ac:chgData name="Negrete, Maria (Titan Alpha)" userId="0a4ba534-701a-455c-bf6c-e730d0a01c09" providerId="ADAL" clId="{DFCEB9D2-06E6-4E97-8056-664425C16752}" dt="2022-12-02T19:39:33.240" v="440" actId="20577"/>
          <ac:spMkLst>
            <pc:docMk/>
            <pc:sldMk cId="2648536608" sldId="838841225"/>
            <ac:spMk id="3" creationId="{A05FC0CC-49C2-D9D9-A314-EDC72B19651B}"/>
          </ac:spMkLst>
        </pc:spChg>
      </pc:sldChg>
      <pc:sldChg chg="modSp mod">
        <pc:chgData name="Negrete, Maria (Titan Alpha)" userId="0a4ba534-701a-455c-bf6c-e730d0a01c09" providerId="ADAL" clId="{DFCEB9D2-06E6-4E97-8056-664425C16752}" dt="2022-12-02T19:39:55.256" v="442" actId="692"/>
        <pc:sldMkLst>
          <pc:docMk/>
          <pc:sldMk cId="4134942931" sldId="838841226"/>
        </pc:sldMkLst>
        <pc:picChg chg="mod">
          <ac:chgData name="Negrete, Maria (Titan Alpha)" userId="0a4ba534-701a-455c-bf6c-e730d0a01c09" providerId="ADAL" clId="{DFCEB9D2-06E6-4E97-8056-664425C16752}" dt="2022-12-02T19:39:55.256" v="442" actId="692"/>
          <ac:picMkLst>
            <pc:docMk/>
            <pc:sldMk cId="4134942931" sldId="838841226"/>
            <ac:picMk id="7" creationId="{CC961803-3670-EDA7-706D-04D8106D0183}"/>
          </ac:picMkLst>
        </pc:picChg>
      </pc:sldChg>
      <pc:sldChg chg="modSp mod">
        <pc:chgData name="Negrete, Maria (Titan Alpha)" userId="0a4ba534-701a-455c-bf6c-e730d0a01c09" providerId="ADAL" clId="{DFCEB9D2-06E6-4E97-8056-664425C16752}" dt="2022-12-02T19:42:02.322" v="457" actId="692"/>
        <pc:sldMkLst>
          <pc:docMk/>
          <pc:sldMk cId="4201618843" sldId="838841231"/>
        </pc:sldMkLst>
        <pc:spChg chg="mod">
          <ac:chgData name="Negrete, Maria (Titan Alpha)" userId="0a4ba534-701a-455c-bf6c-e730d0a01c09" providerId="ADAL" clId="{DFCEB9D2-06E6-4E97-8056-664425C16752}" dt="2022-12-02T17:39:04.895" v="56" actId="403"/>
          <ac:spMkLst>
            <pc:docMk/>
            <pc:sldMk cId="4201618843" sldId="838841231"/>
            <ac:spMk id="3" creationId="{B069E2E4-C3BD-4C25-2E2C-E635482A5BF8}"/>
          </ac:spMkLst>
        </pc:spChg>
        <pc:picChg chg="mod">
          <ac:chgData name="Negrete, Maria (Titan Alpha)" userId="0a4ba534-701a-455c-bf6c-e730d0a01c09" providerId="ADAL" clId="{DFCEB9D2-06E6-4E97-8056-664425C16752}" dt="2022-12-02T19:42:02.322" v="457" actId="692"/>
          <ac:picMkLst>
            <pc:docMk/>
            <pc:sldMk cId="4201618843" sldId="838841231"/>
            <ac:picMk id="8" creationId="{DC88E73C-B5B7-2C14-3898-AD94EE5D4125}"/>
          </ac:picMkLst>
        </pc:picChg>
      </pc:sldChg>
      <pc:sldChg chg="modSp mod">
        <pc:chgData name="Negrete, Maria (Titan Alpha)" userId="0a4ba534-701a-455c-bf6c-e730d0a01c09" providerId="ADAL" clId="{DFCEB9D2-06E6-4E97-8056-664425C16752}" dt="2022-12-02T19:45:36.047" v="504" actId="14100"/>
        <pc:sldMkLst>
          <pc:docMk/>
          <pc:sldMk cId="1757442002" sldId="838841232"/>
        </pc:sldMkLst>
        <pc:spChg chg="mod">
          <ac:chgData name="Negrete, Maria (Titan Alpha)" userId="0a4ba534-701a-455c-bf6c-e730d0a01c09" providerId="ADAL" clId="{DFCEB9D2-06E6-4E97-8056-664425C16752}" dt="2022-12-02T19:44:34.279" v="484" actId="403"/>
          <ac:spMkLst>
            <pc:docMk/>
            <pc:sldMk cId="1757442002" sldId="838841232"/>
            <ac:spMk id="7" creationId="{7F7D3D88-ED0E-0337-6AB8-BA4FC1B772F4}"/>
          </ac:spMkLst>
        </pc:spChg>
        <pc:spChg chg="mod">
          <ac:chgData name="Negrete, Maria (Titan Alpha)" userId="0a4ba534-701a-455c-bf6c-e730d0a01c09" providerId="ADAL" clId="{DFCEB9D2-06E6-4E97-8056-664425C16752}" dt="2022-12-02T19:45:36.047" v="504" actId="14100"/>
          <ac:spMkLst>
            <pc:docMk/>
            <pc:sldMk cId="1757442002" sldId="838841232"/>
            <ac:spMk id="11" creationId="{75005B60-C63B-6524-E6E1-D01B45312646}"/>
          </ac:spMkLst>
        </pc:spChg>
        <pc:picChg chg="mod">
          <ac:chgData name="Negrete, Maria (Titan Alpha)" userId="0a4ba534-701a-455c-bf6c-e730d0a01c09" providerId="ADAL" clId="{DFCEB9D2-06E6-4E97-8056-664425C16752}" dt="2022-12-02T19:45:25.421" v="503" actId="1076"/>
          <ac:picMkLst>
            <pc:docMk/>
            <pc:sldMk cId="1757442002" sldId="838841232"/>
            <ac:picMk id="10" creationId="{7B39B245-1DAF-DA7D-A026-ED0A9FC634AF}"/>
          </ac:picMkLst>
        </pc:picChg>
        <pc:picChg chg="mod">
          <ac:chgData name="Negrete, Maria (Titan Alpha)" userId="0a4ba534-701a-455c-bf6c-e730d0a01c09" providerId="ADAL" clId="{DFCEB9D2-06E6-4E97-8056-664425C16752}" dt="2022-12-02T19:45:07.804" v="499" actId="1076"/>
          <ac:picMkLst>
            <pc:docMk/>
            <pc:sldMk cId="1757442002" sldId="838841232"/>
            <ac:picMk id="17" creationId="{601F6AD3-A818-8483-C3C2-C7C34E4D2925}"/>
          </ac:picMkLst>
        </pc:picChg>
      </pc:sldChg>
      <pc:sldChg chg="modSp mod">
        <pc:chgData name="Negrete, Maria (Titan Alpha)" userId="0a4ba534-701a-455c-bf6c-e730d0a01c09" providerId="ADAL" clId="{DFCEB9D2-06E6-4E97-8056-664425C16752}" dt="2022-12-02T20:13:14.286" v="508" actId="20577"/>
        <pc:sldMkLst>
          <pc:docMk/>
          <pc:sldMk cId="2127298249" sldId="838841233"/>
        </pc:sldMkLst>
        <pc:spChg chg="mod">
          <ac:chgData name="Negrete, Maria (Titan Alpha)" userId="0a4ba534-701a-455c-bf6c-e730d0a01c09" providerId="ADAL" clId="{DFCEB9D2-06E6-4E97-8056-664425C16752}" dt="2022-12-02T20:13:14.286" v="508" actId="20577"/>
          <ac:spMkLst>
            <pc:docMk/>
            <pc:sldMk cId="2127298249" sldId="838841233"/>
            <ac:spMk id="3" creationId="{FC405514-65DD-B961-872D-D480CB8E5AE8}"/>
          </ac:spMkLst>
        </pc:spChg>
      </pc:sldChg>
      <pc:sldChg chg="modSp mod">
        <pc:chgData name="Negrete, Maria (Titan Alpha)" userId="0a4ba534-701a-455c-bf6c-e730d0a01c09" providerId="ADAL" clId="{DFCEB9D2-06E6-4E97-8056-664425C16752}" dt="2022-12-02T19:41:08.442" v="453" actId="1076"/>
        <pc:sldMkLst>
          <pc:docMk/>
          <pc:sldMk cId="88016265" sldId="838841234"/>
        </pc:sldMkLst>
        <pc:spChg chg="mod">
          <ac:chgData name="Negrete, Maria (Titan Alpha)" userId="0a4ba534-701a-455c-bf6c-e730d0a01c09" providerId="ADAL" clId="{DFCEB9D2-06E6-4E97-8056-664425C16752}" dt="2022-12-02T19:41:08.442" v="453" actId="1076"/>
          <ac:spMkLst>
            <pc:docMk/>
            <pc:sldMk cId="88016265" sldId="838841234"/>
            <ac:spMk id="6" creationId="{5CD70345-188C-8EFA-7EC6-1AEEDA67A305}"/>
          </ac:spMkLst>
        </pc:spChg>
        <pc:picChg chg="mod">
          <ac:chgData name="Negrete, Maria (Titan Alpha)" userId="0a4ba534-701a-455c-bf6c-e730d0a01c09" providerId="ADAL" clId="{DFCEB9D2-06E6-4E97-8056-664425C16752}" dt="2022-12-02T19:40:58.849" v="452" actId="1076"/>
          <ac:picMkLst>
            <pc:docMk/>
            <pc:sldMk cId="88016265" sldId="838841234"/>
            <ac:picMk id="12" creationId="{2CB9B4B1-F861-BB87-4D99-70CD54613E29}"/>
          </ac:picMkLst>
        </pc:picChg>
        <pc:picChg chg="mod">
          <ac:chgData name="Negrete, Maria (Titan Alpha)" userId="0a4ba534-701a-455c-bf6c-e730d0a01c09" providerId="ADAL" clId="{DFCEB9D2-06E6-4E97-8056-664425C16752}" dt="2022-12-02T19:40:35.517" v="449" actId="14100"/>
          <ac:picMkLst>
            <pc:docMk/>
            <pc:sldMk cId="88016265" sldId="838841234"/>
            <ac:picMk id="13" creationId="{347D9398-AEC1-B3CD-DDAA-989F42412574}"/>
          </ac:picMkLst>
        </pc:picChg>
      </pc:sldChg>
      <pc:sldChg chg="modSp mod">
        <pc:chgData name="Negrete, Maria (Titan Alpha)" userId="0a4ba534-701a-455c-bf6c-e730d0a01c09" providerId="ADAL" clId="{DFCEB9D2-06E6-4E97-8056-664425C16752}" dt="2022-12-02T18:29:03.550" v="67" actId="6549"/>
        <pc:sldMkLst>
          <pc:docMk/>
          <pc:sldMk cId="560141169" sldId="838841236"/>
        </pc:sldMkLst>
        <pc:spChg chg="mod">
          <ac:chgData name="Negrete, Maria (Titan Alpha)" userId="0a4ba534-701a-455c-bf6c-e730d0a01c09" providerId="ADAL" clId="{DFCEB9D2-06E6-4E97-8056-664425C16752}" dt="2022-12-02T18:29:03.550" v="67" actId="6549"/>
          <ac:spMkLst>
            <pc:docMk/>
            <pc:sldMk cId="560141169" sldId="838841236"/>
            <ac:spMk id="2" creationId="{C3E6A71F-6070-42D4-ABC9-35B2EBA55EF2}"/>
          </ac:spMkLst>
        </pc:spChg>
        <pc:picChg chg="mod">
          <ac:chgData name="Negrete, Maria (Titan Alpha)" userId="0a4ba534-701a-455c-bf6c-e730d0a01c09" providerId="ADAL" clId="{DFCEB9D2-06E6-4E97-8056-664425C16752}" dt="2022-12-02T17:31:43.377" v="3" actId="1076"/>
          <ac:picMkLst>
            <pc:docMk/>
            <pc:sldMk cId="560141169" sldId="838841236"/>
            <ac:picMk id="8" creationId="{09A54DD6-6742-4156-AE48-56ADC02F1E9C}"/>
          </ac:picMkLst>
        </pc:picChg>
      </pc:sldChg>
      <pc:sldChg chg="modSp mod">
        <pc:chgData name="Negrete, Maria (Titan Alpha)" userId="0a4ba534-701a-455c-bf6c-e730d0a01c09" providerId="ADAL" clId="{DFCEB9D2-06E6-4E97-8056-664425C16752}" dt="2022-12-05T13:18:40.750" v="519" actId="20577"/>
        <pc:sldMkLst>
          <pc:docMk/>
          <pc:sldMk cId="4237608706" sldId="838841237"/>
        </pc:sldMkLst>
        <pc:spChg chg="mod">
          <ac:chgData name="Negrete, Maria (Titan Alpha)" userId="0a4ba534-701a-455c-bf6c-e730d0a01c09" providerId="ADAL" clId="{DFCEB9D2-06E6-4E97-8056-664425C16752}" dt="2022-12-05T13:18:40.750" v="519" actId="20577"/>
          <ac:spMkLst>
            <pc:docMk/>
            <pc:sldMk cId="4237608706" sldId="838841237"/>
            <ac:spMk id="3" creationId="{A611C638-D842-4B14-8BD5-B5AF89D59BC8}"/>
          </ac:spMkLst>
        </pc:spChg>
      </pc:sldChg>
      <pc:sldChg chg="modSp mod">
        <pc:chgData name="Negrete, Maria (Titan Alpha)" userId="0a4ba534-701a-455c-bf6c-e730d0a01c09" providerId="ADAL" clId="{DFCEB9D2-06E6-4E97-8056-664425C16752}" dt="2022-12-05T13:25:46.847" v="546" actId="20577"/>
        <pc:sldMkLst>
          <pc:docMk/>
          <pc:sldMk cId="3009181415" sldId="838841238"/>
        </pc:sldMkLst>
        <pc:spChg chg="mod">
          <ac:chgData name="Negrete, Maria (Titan Alpha)" userId="0a4ba534-701a-455c-bf6c-e730d0a01c09" providerId="ADAL" clId="{DFCEB9D2-06E6-4E97-8056-664425C16752}" dt="2022-12-05T13:25:46.847" v="546" actId="20577"/>
          <ac:spMkLst>
            <pc:docMk/>
            <pc:sldMk cId="3009181415" sldId="838841238"/>
            <ac:spMk id="3" creationId="{FC405514-65DD-B961-872D-D480CB8E5AE8}"/>
          </ac:spMkLst>
        </pc:spChg>
      </pc:sldChg>
      <pc:sldChg chg="modSp mod">
        <pc:chgData name="Negrete, Maria (Titan Alpha)" userId="0a4ba534-701a-455c-bf6c-e730d0a01c09" providerId="ADAL" clId="{DFCEB9D2-06E6-4E97-8056-664425C16752}" dt="2022-12-05T13:20:02.985" v="524" actId="14100"/>
        <pc:sldMkLst>
          <pc:docMk/>
          <pc:sldMk cId="2986595464" sldId="838841305"/>
        </pc:sldMkLst>
        <pc:spChg chg="mod">
          <ac:chgData name="Negrete, Maria (Titan Alpha)" userId="0a4ba534-701a-455c-bf6c-e730d0a01c09" providerId="ADAL" clId="{DFCEB9D2-06E6-4E97-8056-664425C16752}" dt="2022-12-05T13:20:02.985" v="524" actId="14100"/>
          <ac:spMkLst>
            <pc:docMk/>
            <pc:sldMk cId="2986595464" sldId="838841305"/>
            <ac:spMk id="3" creationId="{3CABF32D-CD93-4ABC-B811-55FEFF5B973B}"/>
          </ac:spMkLst>
        </pc:spChg>
      </pc:sldChg>
    </pc:docChg>
  </pc:docChgLst>
  <pc:docChgLst>
    <pc:chgData name="Points, Kari" userId="S::kari.points@va.gov::d3d08481-d9e7-4f0b-8844-65fed6518596" providerId="AD" clId="Web-{6EC5954D-ADD2-67DA-4748-141C457F2856}"/>
    <pc:docChg chg="modSld">
      <pc:chgData name="Points, Kari" userId="S::kari.points@va.gov::d3d08481-d9e7-4f0b-8844-65fed6518596" providerId="AD" clId="Web-{6EC5954D-ADD2-67DA-4748-141C457F2856}" dt="2022-12-06T15:36:37.351" v="50" actId="20577"/>
      <pc:docMkLst>
        <pc:docMk/>
      </pc:docMkLst>
      <pc:sldChg chg="modSp">
        <pc:chgData name="Points, Kari" userId="S::kari.points@va.gov::d3d08481-d9e7-4f0b-8844-65fed6518596" providerId="AD" clId="Web-{6EC5954D-ADD2-67DA-4748-141C457F2856}" dt="2022-12-06T15:24:01.293" v="35"/>
        <pc:sldMkLst>
          <pc:docMk/>
          <pc:sldMk cId="4120565422" sldId="257"/>
        </pc:sldMkLst>
        <pc:graphicFrameChg chg="mod modGraphic">
          <ac:chgData name="Points, Kari" userId="S::kari.points@va.gov::d3d08481-d9e7-4f0b-8844-65fed6518596" providerId="AD" clId="Web-{6EC5954D-ADD2-67DA-4748-141C457F2856}" dt="2022-12-06T15:24:01.293" v="35"/>
          <ac:graphicFrameMkLst>
            <pc:docMk/>
            <pc:sldMk cId="4120565422" sldId="257"/>
            <ac:graphicFrameMk id="7" creationId="{872EE588-0261-4597-9BCD-D1DBA24B22CA}"/>
          </ac:graphicFrameMkLst>
        </pc:graphicFrameChg>
      </pc:sldChg>
      <pc:sldChg chg="modSp">
        <pc:chgData name="Points, Kari" userId="S::kari.points@va.gov::d3d08481-d9e7-4f0b-8844-65fed6518596" providerId="AD" clId="Web-{6EC5954D-ADD2-67DA-4748-141C457F2856}" dt="2022-12-06T15:29:37.329" v="41" actId="20577"/>
        <pc:sldMkLst>
          <pc:docMk/>
          <pc:sldMk cId="1251683407" sldId="838841205"/>
        </pc:sldMkLst>
        <pc:spChg chg="mod">
          <ac:chgData name="Points, Kari" userId="S::kari.points@va.gov::d3d08481-d9e7-4f0b-8844-65fed6518596" providerId="AD" clId="Web-{6EC5954D-ADD2-67DA-4748-141C457F2856}" dt="2022-12-06T15:29:37.329" v="41" actId="20577"/>
          <ac:spMkLst>
            <pc:docMk/>
            <pc:sldMk cId="1251683407" sldId="838841205"/>
            <ac:spMk id="3" creationId="{22FEEDD8-5EA6-4067-B379-1DE2E8E2E57A}"/>
          </ac:spMkLst>
        </pc:spChg>
      </pc:sldChg>
      <pc:sldChg chg="modSp">
        <pc:chgData name="Points, Kari" userId="S::kari.points@va.gov::d3d08481-d9e7-4f0b-8844-65fed6518596" providerId="AD" clId="Web-{6EC5954D-ADD2-67DA-4748-141C457F2856}" dt="2022-12-06T15:35:57.570" v="44" actId="1076"/>
        <pc:sldMkLst>
          <pc:docMk/>
          <pc:sldMk cId="4201618843" sldId="838841231"/>
        </pc:sldMkLst>
        <pc:spChg chg="mod">
          <ac:chgData name="Points, Kari" userId="S::kari.points@va.gov::d3d08481-d9e7-4f0b-8844-65fed6518596" providerId="AD" clId="Web-{6EC5954D-ADD2-67DA-4748-141C457F2856}" dt="2022-12-06T15:35:57.570" v="44" actId="1076"/>
          <ac:spMkLst>
            <pc:docMk/>
            <pc:sldMk cId="4201618843" sldId="838841231"/>
            <ac:spMk id="9" creationId="{26FA5D35-9BDE-2BDF-43FE-351F0910DF64}"/>
          </ac:spMkLst>
        </pc:spChg>
      </pc:sldChg>
      <pc:sldChg chg="modSp">
        <pc:chgData name="Points, Kari" userId="S::kari.points@va.gov::d3d08481-d9e7-4f0b-8844-65fed6518596" providerId="AD" clId="Web-{6EC5954D-ADD2-67DA-4748-141C457F2856}" dt="2022-12-06T15:36:37.351" v="50" actId="20577"/>
        <pc:sldMkLst>
          <pc:docMk/>
          <pc:sldMk cId="1757442002" sldId="838841232"/>
        </pc:sldMkLst>
        <pc:spChg chg="mod">
          <ac:chgData name="Points, Kari" userId="S::kari.points@va.gov::d3d08481-d9e7-4f0b-8844-65fed6518596" providerId="AD" clId="Web-{6EC5954D-ADD2-67DA-4748-141C457F2856}" dt="2022-12-06T15:36:37.351" v="50" actId="20577"/>
          <ac:spMkLst>
            <pc:docMk/>
            <pc:sldMk cId="1757442002" sldId="838841232"/>
            <ac:spMk id="7" creationId="{7F7D3D88-ED0E-0337-6AB8-BA4FC1B772F4}"/>
          </ac:spMkLst>
        </pc:spChg>
      </pc:sldChg>
      <pc:sldChg chg="modSp">
        <pc:chgData name="Points, Kari" userId="S::kari.points@va.gov::d3d08481-d9e7-4f0b-8844-65fed6518596" providerId="AD" clId="Web-{6EC5954D-ADD2-67DA-4748-141C457F2856}" dt="2022-12-06T15:26:09.467" v="39" actId="20577"/>
        <pc:sldMkLst>
          <pc:docMk/>
          <pc:sldMk cId="4237608706" sldId="838841237"/>
        </pc:sldMkLst>
        <pc:spChg chg="mod">
          <ac:chgData name="Points, Kari" userId="S::kari.points@va.gov::d3d08481-d9e7-4f0b-8844-65fed6518596" providerId="AD" clId="Web-{6EC5954D-ADD2-67DA-4748-141C457F2856}" dt="2022-12-06T15:26:09.467" v="39" actId="20577"/>
          <ac:spMkLst>
            <pc:docMk/>
            <pc:sldMk cId="4237608706" sldId="838841237"/>
            <ac:spMk id="3" creationId="{A611C638-D842-4B14-8BD5-B5AF89D59BC8}"/>
          </ac:spMkLst>
        </pc:spChg>
      </pc:sldChg>
    </pc:docChg>
  </pc:docChgLst>
  <pc:docChgLst>
    <pc:chgData name="Berlow, Jason" userId="2ca71643-eff5-4d67-b81e-ca1c03f44d5e" providerId="ADAL" clId="{4C101632-3DFE-45F7-B101-7CA472A4F535}"/>
    <pc:docChg chg="undo custSel addSld delSld modSld sldOrd">
      <pc:chgData name="Berlow, Jason" userId="2ca71643-eff5-4d67-b81e-ca1c03f44d5e" providerId="ADAL" clId="{4C101632-3DFE-45F7-B101-7CA472A4F535}" dt="2022-12-06T14:24:15.757" v="943" actId="1076"/>
      <pc:docMkLst>
        <pc:docMk/>
      </pc:docMkLst>
      <pc:sldChg chg="modSp mod">
        <pc:chgData name="Berlow, Jason" userId="2ca71643-eff5-4d67-b81e-ca1c03f44d5e" providerId="ADAL" clId="{4C101632-3DFE-45F7-B101-7CA472A4F535}" dt="2022-12-04T15:33:15.747" v="937" actId="6549"/>
        <pc:sldMkLst>
          <pc:docMk/>
          <pc:sldMk cId="4120565422" sldId="257"/>
        </pc:sldMkLst>
        <pc:graphicFrameChg chg="mod modGraphic">
          <ac:chgData name="Berlow, Jason" userId="2ca71643-eff5-4d67-b81e-ca1c03f44d5e" providerId="ADAL" clId="{4C101632-3DFE-45F7-B101-7CA472A4F535}" dt="2022-12-04T15:33:15.747" v="937" actId="6549"/>
          <ac:graphicFrameMkLst>
            <pc:docMk/>
            <pc:sldMk cId="4120565422" sldId="257"/>
            <ac:graphicFrameMk id="7" creationId="{872EE588-0261-4597-9BCD-D1DBA24B22CA}"/>
          </ac:graphicFrameMkLst>
        </pc:graphicFrameChg>
      </pc:sldChg>
      <pc:sldChg chg="modSp mod">
        <pc:chgData name="Berlow, Jason" userId="2ca71643-eff5-4d67-b81e-ca1c03f44d5e" providerId="ADAL" clId="{4C101632-3DFE-45F7-B101-7CA472A4F535}" dt="2022-12-04T15:35:08.243" v="942" actId="20577"/>
        <pc:sldMkLst>
          <pc:docMk/>
          <pc:sldMk cId="1115176765" sldId="261"/>
        </pc:sldMkLst>
        <pc:spChg chg="mod">
          <ac:chgData name="Berlow, Jason" userId="2ca71643-eff5-4d67-b81e-ca1c03f44d5e" providerId="ADAL" clId="{4C101632-3DFE-45F7-B101-7CA472A4F535}" dt="2022-12-04T15:35:08.243" v="942" actId="20577"/>
          <ac:spMkLst>
            <pc:docMk/>
            <pc:sldMk cId="1115176765" sldId="261"/>
            <ac:spMk id="3" creationId="{9C94D64E-8C18-4299-AC7A-2EA237A286DB}"/>
          </ac:spMkLst>
        </pc:spChg>
      </pc:sldChg>
      <pc:sldChg chg="modSp mod">
        <pc:chgData name="Berlow, Jason" userId="2ca71643-eff5-4d67-b81e-ca1c03f44d5e" providerId="ADAL" clId="{4C101632-3DFE-45F7-B101-7CA472A4F535}" dt="2022-12-04T15:34:47.406" v="941" actId="12"/>
        <pc:sldMkLst>
          <pc:docMk/>
          <pc:sldMk cId="66155223" sldId="264"/>
        </pc:sldMkLst>
        <pc:spChg chg="mod">
          <ac:chgData name="Berlow, Jason" userId="2ca71643-eff5-4d67-b81e-ca1c03f44d5e" providerId="ADAL" clId="{4C101632-3DFE-45F7-B101-7CA472A4F535}" dt="2022-12-04T15:34:47.406" v="941" actId="12"/>
          <ac:spMkLst>
            <pc:docMk/>
            <pc:sldMk cId="66155223" sldId="264"/>
            <ac:spMk id="3" creationId="{66969E95-C3EB-F572-BE2A-F6BE479FCFC1}"/>
          </ac:spMkLst>
        </pc:spChg>
      </pc:sldChg>
      <pc:sldChg chg="addSp delSp modSp add mod">
        <pc:chgData name="Berlow, Jason" userId="2ca71643-eff5-4d67-b81e-ca1c03f44d5e" providerId="ADAL" clId="{4C101632-3DFE-45F7-B101-7CA472A4F535}" dt="2022-12-06T14:24:15.757" v="943" actId="1076"/>
        <pc:sldMkLst>
          <pc:docMk/>
          <pc:sldMk cId="3225505560" sldId="5117"/>
        </pc:sldMkLst>
        <pc:spChg chg="mod">
          <ac:chgData name="Berlow, Jason" userId="2ca71643-eff5-4d67-b81e-ca1c03f44d5e" providerId="ADAL" clId="{4C101632-3DFE-45F7-B101-7CA472A4F535}" dt="2022-12-02T16:02:19.110" v="265" actId="20577"/>
          <ac:spMkLst>
            <pc:docMk/>
            <pc:sldMk cId="3225505560" sldId="5117"/>
            <ac:spMk id="3" creationId="{6E8BC0E8-283D-4790-8457-9D22EE6C6EC0}"/>
          </ac:spMkLst>
        </pc:spChg>
        <pc:spChg chg="del">
          <ac:chgData name="Berlow, Jason" userId="2ca71643-eff5-4d67-b81e-ca1c03f44d5e" providerId="ADAL" clId="{4C101632-3DFE-45F7-B101-7CA472A4F535}" dt="2022-12-02T16:02:23.718" v="266" actId="21"/>
          <ac:spMkLst>
            <pc:docMk/>
            <pc:sldMk cId="3225505560" sldId="5117"/>
            <ac:spMk id="6" creationId="{C548E08C-1CFB-47EE-83C9-9A5A8AD9EB32}"/>
          </ac:spMkLst>
        </pc:spChg>
        <pc:spChg chg="add del mod">
          <ac:chgData name="Berlow, Jason" userId="2ca71643-eff5-4d67-b81e-ca1c03f44d5e" providerId="ADAL" clId="{4C101632-3DFE-45F7-B101-7CA472A4F535}" dt="2022-12-02T16:02:37.977" v="268"/>
          <ac:spMkLst>
            <pc:docMk/>
            <pc:sldMk cId="3225505560" sldId="5117"/>
            <ac:spMk id="7" creationId="{B634E7C1-E6FC-40FA-B385-8950C418914A}"/>
          </ac:spMkLst>
        </pc:spChg>
        <pc:spChg chg="add mod">
          <ac:chgData name="Berlow, Jason" userId="2ca71643-eff5-4d67-b81e-ca1c03f44d5e" providerId="ADAL" clId="{4C101632-3DFE-45F7-B101-7CA472A4F535}" dt="2022-12-06T14:24:15.757" v="943" actId="1076"/>
          <ac:spMkLst>
            <pc:docMk/>
            <pc:sldMk cId="3225505560" sldId="5117"/>
            <ac:spMk id="8" creationId="{ACD838DB-B9AC-4EAF-95D1-1AA60A7D2E29}"/>
          </ac:spMkLst>
        </pc:spChg>
      </pc:sldChg>
      <pc:sldChg chg="modSp add del mod">
        <pc:chgData name="Berlow, Jason" userId="2ca71643-eff5-4d67-b81e-ca1c03f44d5e" providerId="ADAL" clId="{4C101632-3DFE-45F7-B101-7CA472A4F535}" dt="2022-12-02T16:01:20.954" v="263" actId="47"/>
        <pc:sldMkLst>
          <pc:docMk/>
          <pc:sldMk cId="161494672" sldId="5137"/>
        </pc:sldMkLst>
        <pc:spChg chg="mod">
          <ac:chgData name="Berlow, Jason" userId="2ca71643-eff5-4d67-b81e-ca1c03f44d5e" providerId="ADAL" clId="{4C101632-3DFE-45F7-B101-7CA472A4F535}" dt="2022-12-02T16:00:26.024" v="260" actId="27636"/>
          <ac:spMkLst>
            <pc:docMk/>
            <pc:sldMk cId="161494672" sldId="5137"/>
            <ac:spMk id="3" creationId="{A611C638-D842-4B14-8BD5-B5AF89D59BC8}"/>
          </ac:spMkLst>
        </pc:spChg>
      </pc:sldChg>
      <pc:sldChg chg="addSp modSp mod">
        <pc:chgData name="Berlow, Jason" userId="2ca71643-eff5-4d67-b81e-ca1c03f44d5e" providerId="ADAL" clId="{4C101632-3DFE-45F7-B101-7CA472A4F535}" dt="2022-12-02T16:33:54.286" v="761" actId="1076"/>
        <pc:sldMkLst>
          <pc:docMk/>
          <pc:sldMk cId="3401314436" sldId="838841170"/>
        </pc:sldMkLst>
        <pc:spChg chg="mod">
          <ac:chgData name="Berlow, Jason" userId="2ca71643-eff5-4d67-b81e-ca1c03f44d5e" providerId="ADAL" clId="{4C101632-3DFE-45F7-B101-7CA472A4F535}" dt="2022-12-02T13:53:24.677" v="105" actId="20577"/>
          <ac:spMkLst>
            <pc:docMk/>
            <pc:sldMk cId="3401314436" sldId="838841170"/>
            <ac:spMk id="2" creationId="{FFEF732C-E3EC-81EB-3BB7-400FD904B044}"/>
          </ac:spMkLst>
        </pc:spChg>
        <pc:spChg chg="mod">
          <ac:chgData name="Berlow, Jason" userId="2ca71643-eff5-4d67-b81e-ca1c03f44d5e" providerId="ADAL" clId="{4C101632-3DFE-45F7-B101-7CA472A4F535}" dt="2022-12-02T16:33:13.283" v="754" actId="20577"/>
          <ac:spMkLst>
            <pc:docMk/>
            <pc:sldMk cId="3401314436" sldId="838841170"/>
            <ac:spMk id="3" creationId="{CCB94CA7-1D5D-8BD2-1441-8360BCAA9C7D}"/>
          </ac:spMkLst>
        </pc:spChg>
        <pc:graphicFrameChg chg="add mod modGraphic">
          <ac:chgData name="Berlow, Jason" userId="2ca71643-eff5-4d67-b81e-ca1c03f44d5e" providerId="ADAL" clId="{4C101632-3DFE-45F7-B101-7CA472A4F535}" dt="2022-12-02T16:33:54.286" v="761" actId="1076"/>
          <ac:graphicFrameMkLst>
            <pc:docMk/>
            <pc:sldMk cId="3401314436" sldId="838841170"/>
            <ac:graphicFrameMk id="6" creationId="{B4E66A5B-5939-4A7B-A598-85C16654FFED}"/>
          </ac:graphicFrameMkLst>
        </pc:graphicFrameChg>
      </pc:sldChg>
      <pc:sldChg chg="addSp modSp mod">
        <pc:chgData name="Berlow, Jason" userId="2ca71643-eff5-4d67-b81e-ca1c03f44d5e" providerId="ADAL" clId="{4C101632-3DFE-45F7-B101-7CA472A4F535}" dt="2022-12-04T15:34:06.797" v="938" actId="13926"/>
        <pc:sldMkLst>
          <pc:docMk/>
          <pc:sldMk cId="2366223156" sldId="838841171"/>
        </pc:sldMkLst>
        <pc:spChg chg="mod">
          <ac:chgData name="Berlow, Jason" userId="2ca71643-eff5-4d67-b81e-ca1c03f44d5e" providerId="ADAL" clId="{4C101632-3DFE-45F7-B101-7CA472A4F535}" dt="2022-12-02T13:53:27.718" v="107" actId="20577"/>
          <ac:spMkLst>
            <pc:docMk/>
            <pc:sldMk cId="2366223156" sldId="838841171"/>
            <ac:spMk id="2" creationId="{518ED66A-88CE-1365-F625-0493AEB395A0}"/>
          </ac:spMkLst>
        </pc:spChg>
        <pc:spChg chg="mod">
          <ac:chgData name="Berlow, Jason" userId="2ca71643-eff5-4d67-b81e-ca1c03f44d5e" providerId="ADAL" clId="{4C101632-3DFE-45F7-B101-7CA472A4F535}" dt="2022-12-02T16:32:40.167" v="751" actId="20577"/>
          <ac:spMkLst>
            <pc:docMk/>
            <pc:sldMk cId="2366223156" sldId="838841171"/>
            <ac:spMk id="3" creationId="{5363EE06-3557-4256-0A26-C4B840F66724}"/>
          </ac:spMkLst>
        </pc:spChg>
        <pc:graphicFrameChg chg="add mod modGraphic">
          <ac:chgData name="Berlow, Jason" userId="2ca71643-eff5-4d67-b81e-ca1c03f44d5e" providerId="ADAL" clId="{4C101632-3DFE-45F7-B101-7CA472A4F535}" dt="2022-12-04T15:34:06.797" v="938" actId="13926"/>
          <ac:graphicFrameMkLst>
            <pc:docMk/>
            <pc:sldMk cId="2366223156" sldId="838841171"/>
            <ac:graphicFrameMk id="6" creationId="{C143995F-68D5-4B1E-BDFC-D6065CE5B723}"/>
          </ac:graphicFrameMkLst>
        </pc:graphicFrameChg>
      </pc:sldChg>
      <pc:sldChg chg="modSp mod">
        <pc:chgData name="Berlow, Jason" userId="2ca71643-eff5-4d67-b81e-ca1c03f44d5e" providerId="ADAL" clId="{4C101632-3DFE-45F7-B101-7CA472A4F535}" dt="2022-12-02T13:53:34.476" v="109" actId="20577"/>
        <pc:sldMkLst>
          <pc:docMk/>
          <pc:sldMk cId="1176425062" sldId="838841180"/>
        </pc:sldMkLst>
        <pc:spChg chg="mod">
          <ac:chgData name="Berlow, Jason" userId="2ca71643-eff5-4d67-b81e-ca1c03f44d5e" providerId="ADAL" clId="{4C101632-3DFE-45F7-B101-7CA472A4F535}" dt="2022-12-02T13:53:34.476" v="109" actId="20577"/>
          <ac:spMkLst>
            <pc:docMk/>
            <pc:sldMk cId="1176425062" sldId="838841180"/>
            <ac:spMk id="2" creationId="{9A027C8C-64C0-1023-9AC0-F25B40EEB4FD}"/>
          </ac:spMkLst>
        </pc:spChg>
      </pc:sldChg>
      <pc:sldChg chg="modSp mod">
        <pc:chgData name="Berlow, Jason" userId="2ca71643-eff5-4d67-b81e-ca1c03f44d5e" providerId="ADAL" clId="{4C101632-3DFE-45F7-B101-7CA472A4F535}" dt="2022-12-02T13:52:57.629" v="101" actId="20577"/>
        <pc:sldMkLst>
          <pc:docMk/>
          <pc:sldMk cId="3659216667" sldId="838841189"/>
        </pc:sldMkLst>
        <pc:spChg chg="mod">
          <ac:chgData name="Berlow, Jason" userId="2ca71643-eff5-4d67-b81e-ca1c03f44d5e" providerId="ADAL" clId="{4C101632-3DFE-45F7-B101-7CA472A4F535}" dt="2022-12-02T13:52:57.629" v="101" actId="20577"/>
          <ac:spMkLst>
            <pc:docMk/>
            <pc:sldMk cId="3659216667" sldId="838841189"/>
            <ac:spMk id="2" creationId="{AE8C799B-4693-4DB8-AAD6-8748C6EABC99}"/>
          </ac:spMkLst>
        </pc:spChg>
      </pc:sldChg>
      <pc:sldChg chg="addSp delSp modSp mod">
        <pc:chgData name="Berlow, Jason" userId="2ca71643-eff5-4d67-b81e-ca1c03f44d5e" providerId="ADAL" clId="{4C101632-3DFE-45F7-B101-7CA472A4F535}" dt="2022-12-01T14:01:53.164" v="5" actId="1076"/>
        <pc:sldMkLst>
          <pc:docMk/>
          <pc:sldMk cId="2206790986" sldId="838841195"/>
        </pc:sldMkLst>
        <pc:spChg chg="add del mod">
          <ac:chgData name="Berlow, Jason" userId="2ca71643-eff5-4d67-b81e-ca1c03f44d5e" providerId="ADAL" clId="{4C101632-3DFE-45F7-B101-7CA472A4F535}" dt="2022-12-01T14:01:44.998" v="1" actId="931"/>
          <ac:spMkLst>
            <pc:docMk/>
            <pc:sldMk cId="2206790986" sldId="838841195"/>
            <ac:spMk id="5" creationId="{2EF6599A-970F-42BA-9757-95F17F259F28}"/>
          </ac:spMkLst>
        </pc:spChg>
        <pc:spChg chg="mod">
          <ac:chgData name="Berlow, Jason" userId="2ca71643-eff5-4d67-b81e-ca1c03f44d5e" providerId="ADAL" clId="{4C101632-3DFE-45F7-B101-7CA472A4F535}" dt="2022-12-01T14:01:53.164" v="5" actId="1076"/>
          <ac:spMkLst>
            <pc:docMk/>
            <pc:sldMk cId="2206790986" sldId="838841195"/>
            <ac:spMk id="11" creationId="{44E20599-85C8-4DAF-8298-64D9EDF0801F}"/>
          </ac:spMkLst>
        </pc:spChg>
        <pc:picChg chg="add mod">
          <ac:chgData name="Berlow, Jason" userId="2ca71643-eff5-4d67-b81e-ca1c03f44d5e" providerId="ADAL" clId="{4C101632-3DFE-45F7-B101-7CA472A4F535}" dt="2022-12-01T14:01:47.476" v="4" actId="1076"/>
          <ac:picMkLst>
            <pc:docMk/>
            <pc:sldMk cId="2206790986" sldId="838841195"/>
            <ac:picMk id="7" creationId="{3A761AE4-B285-4626-B17C-846942584484}"/>
          </ac:picMkLst>
        </pc:picChg>
        <pc:picChg chg="del">
          <ac:chgData name="Berlow, Jason" userId="2ca71643-eff5-4d67-b81e-ca1c03f44d5e" providerId="ADAL" clId="{4C101632-3DFE-45F7-B101-7CA472A4F535}" dt="2022-12-01T14:01:31.259" v="0" actId="478"/>
          <ac:picMkLst>
            <pc:docMk/>
            <pc:sldMk cId="2206790986" sldId="838841195"/>
            <ac:picMk id="10" creationId="{3C4F78F0-171E-4A0F-9523-6EA8FE146781}"/>
          </ac:picMkLst>
        </pc:picChg>
      </pc:sldChg>
      <pc:sldChg chg="addSp delSp modSp mod">
        <pc:chgData name="Berlow, Jason" userId="2ca71643-eff5-4d67-b81e-ca1c03f44d5e" providerId="ADAL" clId="{4C101632-3DFE-45F7-B101-7CA472A4F535}" dt="2022-12-02T16:29:11.903" v="689" actId="20577"/>
        <pc:sldMkLst>
          <pc:docMk/>
          <pc:sldMk cId="2171040640" sldId="838841197"/>
        </pc:sldMkLst>
        <pc:spChg chg="mod">
          <ac:chgData name="Berlow, Jason" userId="2ca71643-eff5-4d67-b81e-ca1c03f44d5e" providerId="ADAL" clId="{4C101632-3DFE-45F7-B101-7CA472A4F535}" dt="2022-12-02T16:29:11.903" v="689" actId="20577"/>
          <ac:spMkLst>
            <pc:docMk/>
            <pc:sldMk cId="2171040640" sldId="838841197"/>
            <ac:spMk id="7" creationId="{0B470449-8325-45F2-A7B0-1037040189AE}"/>
          </ac:spMkLst>
        </pc:spChg>
        <pc:picChg chg="del">
          <ac:chgData name="Berlow, Jason" userId="2ca71643-eff5-4d67-b81e-ca1c03f44d5e" providerId="ADAL" clId="{4C101632-3DFE-45F7-B101-7CA472A4F535}" dt="2022-12-01T14:08:36.706" v="6" actId="478"/>
          <ac:picMkLst>
            <pc:docMk/>
            <pc:sldMk cId="2171040640" sldId="838841197"/>
            <ac:picMk id="3" creationId="{5D74EEFF-DA49-4AF6-9BDD-C5FCA6921190}"/>
          </ac:picMkLst>
        </pc:picChg>
        <pc:picChg chg="add mod">
          <ac:chgData name="Berlow, Jason" userId="2ca71643-eff5-4d67-b81e-ca1c03f44d5e" providerId="ADAL" clId="{4C101632-3DFE-45F7-B101-7CA472A4F535}" dt="2022-12-01T14:08:59.185" v="10" actId="1076"/>
          <ac:picMkLst>
            <pc:docMk/>
            <pc:sldMk cId="2171040640" sldId="838841197"/>
            <ac:picMk id="5" creationId="{2090F106-A79A-4A00-AB9A-D85A0C7F74D0}"/>
          </ac:picMkLst>
        </pc:picChg>
      </pc:sldChg>
      <pc:sldChg chg="addSp delSp modSp mod">
        <pc:chgData name="Berlow, Jason" userId="2ca71643-eff5-4d67-b81e-ca1c03f44d5e" providerId="ADAL" clId="{4C101632-3DFE-45F7-B101-7CA472A4F535}" dt="2022-12-01T14:11:11.697" v="19" actId="1076"/>
        <pc:sldMkLst>
          <pc:docMk/>
          <pc:sldMk cId="1859310006" sldId="838841199"/>
        </pc:sldMkLst>
        <pc:spChg chg="add del mod">
          <ac:chgData name="Berlow, Jason" userId="2ca71643-eff5-4d67-b81e-ca1c03f44d5e" providerId="ADAL" clId="{4C101632-3DFE-45F7-B101-7CA472A4F535}" dt="2022-12-01T14:10:42.223" v="13" actId="931"/>
          <ac:spMkLst>
            <pc:docMk/>
            <pc:sldMk cId="1859310006" sldId="838841199"/>
            <ac:spMk id="7" creationId="{81E0EC6C-59B2-411A-B6AD-68BB7790B8AF}"/>
          </ac:spMkLst>
        </pc:spChg>
        <pc:picChg chg="del mod">
          <ac:chgData name="Berlow, Jason" userId="2ca71643-eff5-4d67-b81e-ca1c03f44d5e" providerId="ADAL" clId="{4C101632-3DFE-45F7-B101-7CA472A4F535}" dt="2022-12-01T14:09:25.193" v="12" actId="478"/>
          <ac:picMkLst>
            <pc:docMk/>
            <pc:sldMk cId="1859310006" sldId="838841199"/>
            <ac:picMk id="5" creationId="{C2AA40BE-FD2E-4AD3-B7F7-68066A60ACC9}"/>
          </ac:picMkLst>
        </pc:picChg>
        <pc:picChg chg="add mod modCrop">
          <ac:chgData name="Berlow, Jason" userId="2ca71643-eff5-4d67-b81e-ca1c03f44d5e" providerId="ADAL" clId="{4C101632-3DFE-45F7-B101-7CA472A4F535}" dt="2022-12-01T14:11:11.697" v="19" actId="1076"/>
          <ac:picMkLst>
            <pc:docMk/>
            <pc:sldMk cId="1859310006" sldId="838841199"/>
            <ac:picMk id="9" creationId="{B4B1EF0D-4400-4FC8-8FE6-880A8F589062}"/>
          </ac:picMkLst>
        </pc:picChg>
      </pc:sldChg>
      <pc:sldChg chg="addSp modSp mod chgLayout">
        <pc:chgData name="Berlow, Jason" userId="2ca71643-eff5-4d67-b81e-ca1c03f44d5e" providerId="ADAL" clId="{4C101632-3DFE-45F7-B101-7CA472A4F535}" dt="2022-12-02T16:28:53.668" v="688" actId="6549"/>
        <pc:sldMkLst>
          <pc:docMk/>
          <pc:sldMk cId="1251683407" sldId="838841205"/>
        </pc:sldMkLst>
        <pc:spChg chg="add mod ord">
          <ac:chgData name="Berlow, Jason" userId="2ca71643-eff5-4d67-b81e-ca1c03f44d5e" providerId="ADAL" clId="{4C101632-3DFE-45F7-B101-7CA472A4F535}" dt="2022-12-02T16:17:20.387" v="414" actId="700"/>
          <ac:spMkLst>
            <pc:docMk/>
            <pc:sldMk cId="1251683407" sldId="838841205"/>
            <ac:spMk id="2" creationId="{6F5A34BB-F7E9-49F5-BB1E-1300F8FA6EB0}"/>
          </ac:spMkLst>
        </pc:spChg>
        <pc:spChg chg="add mod ord">
          <ac:chgData name="Berlow, Jason" userId="2ca71643-eff5-4d67-b81e-ca1c03f44d5e" providerId="ADAL" clId="{4C101632-3DFE-45F7-B101-7CA472A4F535}" dt="2022-12-02T16:28:53.668" v="688" actId="6549"/>
          <ac:spMkLst>
            <pc:docMk/>
            <pc:sldMk cId="1251683407" sldId="838841205"/>
            <ac:spMk id="3" creationId="{22FEEDD8-5EA6-4067-B379-1DE2E8E2E57A}"/>
          </ac:spMkLst>
        </pc:spChg>
        <pc:spChg chg="mod ord">
          <ac:chgData name="Berlow, Jason" userId="2ca71643-eff5-4d67-b81e-ca1c03f44d5e" providerId="ADAL" clId="{4C101632-3DFE-45F7-B101-7CA472A4F535}" dt="2022-12-02T16:17:20.387" v="414" actId="700"/>
          <ac:spMkLst>
            <pc:docMk/>
            <pc:sldMk cId="1251683407" sldId="838841205"/>
            <ac:spMk id="4" creationId="{F5A9EB57-242A-456F-A867-424BCE5ED330}"/>
          </ac:spMkLst>
        </pc:spChg>
        <pc:spChg chg="mod ord">
          <ac:chgData name="Berlow, Jason" userId="2ca71643-eff5-4d67-b81e-ca1c03f44d5e" providerId="ADAL" clId="{4C101632-3DFE-45F7-B101-7CA472A4F535}" dt="2022-12-02T16:17:20.387" v="414" actId="700"/>
          <ac:spMkLst>
            <pc:docMk/>
            <pc:sldMk cId="1251683407" sldId="838841205"/>
            <ac:spMk id="10" creationId="{BE8FEFE0-0FAA-4B8D-8816-A761B86A44FC}"/>
          </ac:spMkLst>
        </pc:spChg>
      </pc:sldChg>
      <pc:sldChg chg="modSp mod">
        <pc:chgData name="Berlow, Jason" userId="2ca71643-eff5-4d67-b81e-ca1c03f44d5e" providerId="ADAL" clId="{4C101632-3DFE-45F7-B101-7CA472A4F535}" dt="2022-12-02T13:53:47.931" v="117" actId="20577"/>
        <pc:sldMkLst>
          <pc:docMk/>
          <pc:sldMk cId="14655231" sldId="838841209"/>
        </pc:sldMkLst>
        <pc:spChg chg="mod">
          <ac:chgData name="Berlow, Jason" userId="2ca71643-eff5-4d67-b81e-ca1c03f44d5e" providerId="ADAL" clId="{4C101632-3DFE-45F7-B101-7CA472A4F535}" dt="2022-12-02T13:53:47.931" v="117" actId="20577"/>
          <ac:spMkLst>
            <pc:docMk/>
            <pc:sldMk cId="14655231" sldId="838841209"/>
            <ac:spMk id="2" creationId="{9A027C8C-64C0-1023-9AC0-F25B40EEB4FD}"/>
          </ac:spMkLst>
        </pc:spChg>
      </pc:sldChg>
      <pc:sldChg chg="modSp mod">
        <pc:chgData name="Berlow, Jason" userId="2ca71643-eff5-4d67-b81e-ca1c03f44d5e" providerId="ADAL" clId="{4C101632-3DFE-45F7-B101-7CA472A4F535}" dt="2022-12-02T13:54:14.913" v="119" actId="20577"/>
        <pc:sldMkLst>
          <pc:docMk/>
          <pc:sldMk cId="919342513" sldId="838841210"/>
        </pc:sldMkLst>
        <pc:spChg chg="mod">
          <ac:chgData name="Berlow, Jason" userId="2ca71643-eff5-4d67-b81e-ca1c03f44d5e" providerId="ADAL" clId="{4C101632-3DFE-45F7-B101-7CA472A4F535}" dt="2022-12-02T13:54:14.913" v="119" actId="20577"/>
          <ac:spMkLst>
            <pc:docMk/>
            <pc:sldMk cId="919342513" sldId="838841210"/>
            <ac:spMk id="2" creationId="{9A027C8C-64C0-1023-9AC0-F25B40EEB4FD}"/>
          </ac:spMkLst>
        </pc:spChg>
      </pc:sldChg>
      <pc:sldChg chg="modSp mod">
        <pc:chgData name="Berlow, Jason" userId="2ca71643-eff5-4d67-b81e-ca1c03f44d5e" providerId="ADAL" clId="{4C101632-3DFE-45F7-B101-7CA472A4F535}" dt="2022-12-04T15:34:19.805" v="939" actId="1076"/>
        <pc:sldMkLst>
          <pc:docMk/>
          <pc:sldMk cId="2166474339" sldId="838841212"/>
        </pc:sldMkLst>
        <pc:picChg chg="mod">
          <ac:chgData name="Berlow, Jason" userId="2ca71643-eff5-4d67-b81e-ca1c03f44d5e" providerId="ADAL" clId="{4C101632-3DFE-45F7-B101-7CA472A4F535}" dt="2022-12-04T15:34:19.805" v="939" actId="1076"/>
          <ac:picMkLst>
            <pc:docMk/>
            <pc:sldMk cId="2166474339" sldId="838841212"/>
            <ac:picMk id="3" creationId="{0AB1A725-7DA8-68AA-B6CB-34BF025A39C6}"/>
          </ac:picMkLst>
        </pc:picChg>
      </pc:sldChg>
      <pc:sldChg chg="modSp mod">
        <pc:chgData name="Berlow, Jason" userId="2ca71643-eff5-4d67-b81e-ca1c03f44d5e" providerId="ADAL" clId="{4C101632-3DFE-45F7-B101-7CA472A4F535}" dt="2022-12-02T20:57:49.181" v="773" actId="1076"/>
        <pc:sldMkLst>
          <pc:docMk/>
          <pc:sldMk cId="3247358776" sldId="838841214"/>
        </pc:sldMkLst>
        <pc:spChg chg="mod">
          <ac:chgData name="Berlow, Jason" userId="2ca71643-eff5-4d67-b81e-ca1c03f44d5e" providerId="ADAL" clId="{4C101632-3DFE-45F7-B101-7CA472A4F535}" dt="2022-12-02T13:53:37.248" v="111" actId="20577"/>
          <ac:spMkLst>
            <pc:docMk/>
            <pc:sldMk cId="3247358776" sldId="838841214"/>
            <ac:spMk id="2" creationId="{44A52D60-47DE-053B-7799-5D0C8477AC1D}"/>
          </ac:spMkLst>
        </pc:spChg>
        <pc:graphicFrameChg chg="mod modGraphic">
          <ac:chgData name="Berlow, Jason" userId="2ca71643-eff5-4d67-b81e-ca1c03f44d5e" providerId="ADAL" clId="{4C101632-3DFE-45F7-B101-7CA472A4F535}" dt="2022-12-02T20:57:49.181" v="773" actId="1076"/>
          <ac:graphicFrameMkLst>
            <pc:docMk/>
            <pc:sldMk cId="3247358776" sldId="838841214"/>
            <ac:graphicFrameMk id="6" creationId="{E9E9C249-6C53-4241-B2CB-B6EE67B99201}"/>
          </ac:graphicFrameMkLst>
        </pc:graphicFrameChg>
        <pc:picChg chg="mod">
          <ac:chgData name="Berlow, Jason" userId="2ca71643-eff5-4d67-b81e-ca1c03f44d5e" providerId="ADAL" clId="{4C101632-3DFE-45F7-B101-7CA472A4F535}" dt="2022-12-02T20:57:42.181" v="771" actId="1076"/>
          <ac:picMkLst>
            <pc:docMk/>
            <pc:sldMk cId="3247358776" sldId="838841214"/>
            <ac:picMk id="10" creationId="{E4F23683-BE53-3426-9803-41BDC2E4CB08}"/>
          </ac:picMkLst>
        </pc:picChg>
      </pc:sldChg>
      <pc:sldChg chg="modSp mod">
        <pc:chgData name="Berlow, Jason" userId="2ca71643-eff5-4d67-b81e-ca1c03f44d5e" providerId="ADAL" clId="{4C101632-3DFE-45F7-B101-7CA472A4F535}" dt="2022-12-02T13:53:44.884" v="115" actId="20577"/>
        <pc:sldMkLst>
          <pc:docMk/>
          <pc:sldMk cId="4085233566" sldId="838841215"/>
        </pc:sldMkLst>
        <pc:spChg chg="mod">
          <ac:chgData name="Berlow, Jason" userId="2ca71643-eff5-4d67-b81e-ca1c03f44d5e" providerId="ADAL" clId="{4C101632-3DFE-45F7-B101-7CA472A4F535}" dt="2022-12-02T13:53:44.884" v="115" actId="20577"/>
          <ac:spMkLst>
            <pc:docMk/>
            <pc:sldMk cId="4085233566" sldId="838841215"/>
            <ac:spMk id="2" creationId="{4A07BD17-EF4A-B5CB-AD10-A8BDC9753A2E}"/>
          </ac:spMkLst>
        </pc:spChg>
      </pc:sldChg>
      <pc:sldChg chg="modSp mod">
        <pc:chgData name="Berlow, Jason" userId="2ca71643-eff5-4d67-b81e-ca1c03f44d5e" providerId="ADAL" clId="{4C101632-3DFE-45F7-B101-7CA472A4F535}" dt="2022-12-02T21:00:05.565" v="775" actId="14100"/>
        <pc:sldMkLst>
          <pc:docMk/>
          <pc:sldMk cId="422101721" sldId="838841217"/>
        </pc:sldMkLst>
        <pc:spChg chg="mod">
          <ac:chgData name="Berlow, Jason" userId="2ca71643-eff5-4d67-b81e-ca1c03f44d5e" providerId="ADAL" clId="{4C101632-3DFE-45F7-B101-7CA472A4F535}" dt="2022-12-02T13:53:41.631" v="113" actId="20577"/>
          <ac:spMkLst>
            <pc:docMk/>
            <pc:sldMk cId="422101721" sldId="838841217"/>
            <ac:spMk id="2" creationId="{D0320702-21DA-5C7C-047C-E5048105E213}"/>
          </ac:spMkLst>
        </pc:spChg>
        <pc:graphicFrameChg chg="mod">
          <ac:chgData name="Berlow, Jason" userId="2ca71643-eff5-4d67-b81e-ca1c03f44d5e" providerId="ADAL" clId="{4C101632-3DFE-45F7-B101-7CA472A4F535}" dt="2022-12-02T21:00:02.415" v="774" actId="1076"/>
          <ac:graphicFrameMkLst>
            <pc:docMk/>
            <pc:sldMk cId="422101721" sldId="838841217"/>
            <ac:graphicFrameMk id="8" creationId="{A7C47878-AA89-4E7B-948F-187459CC1504}"/>
          </ac:graphicFrameMkLst>
        </pc:graphicFrameChg>
        <pc:cxnChg chg="mod">
          <ac:chgData name="Berlow, Jason" userId="2ca71643-eff5-4d67-b81e-ca1c03f44d5e" providerId="ADAL" clId="{4C101632-3DFE-45F7-B101-7CA472A4F535}" dt="2022-12-02T21:00:05.565" v="775" actId="14100"/>
          <ac:cxnSpMkLst>
            <pc:docMk/>
            <pc:sldMk cId="422101721" sldId="838841217"/>
            <ac:cxnSpMk id="7" creationId="{E607661B-F550-D286-296F-9ACC54F4EB0B}"/>
          </ac:cxnSpMkLst>
        </pc:cxnChg>
      </pc:sldChg>
      <pc:sldChg chg="new del ord">
        <pc:chgData name="Berlow, Jason" userId="2ca71643-eff5-4d67-b81e-ca1c03f44d5e" providerId="ADAL" clId="{4C101632-3DFE-45F7-B101-7CA472A4F535}" dt="2022-12-02T16:00:18.421" v="258" actId="47"/>
        <pc:sldMkLst>
          <pc:docMk/>
          <pc:sldMk cId="1824478361" sldId="838841235"/>
        </pc:sldMkLst>
      </pc:sldChg>
      <pc:sldChg chg="addSp delSp modSp add mod ord">
        <pc:chgData name="Berlow, Jason" userId="2ca71643-eff5-4d67-b81e-ca1c03f44d5e" providerId="ADAL" clId="{4C101632-3DFE-45F7-B101-7CA472A4F535}" dt="2022-12-02T16:29:31.018" v="690" actId="21"/>
        <pc:sldMkLst>
          <pc:docMk/>
          <pc:sldMk cId="560141169" sldId="838841236"/>
        </pc:sldMkLst>
        <pc:spChg chg="mod">
          <ac:chgData name="Berlow, Jason" userId="2ca71643-eff5-4d67-b81e-ca1c03f44d5e" providerId="ADAL" clId="{4C101632-3DFE-45F7-B101-7CA472A4F535}" dt="2022-12-02T13:58:20.120" v="252" actId="255"/>
          <ac:spMkLst>
            <pc:docMk/>
            <pc:sldMk cId="560141169" sldId="838841236"/>
            <ac:spMk id="2" creationId="{C3E6A71F-6070-42D4-ABC9-35B2EBA55EF2}"/>
          </ac:spMkLst>
        </pc:spChg>
        <pc:spChg chg="add del mod">
          <ac:chgData name="Berlow, Jason" userId="2ca71643-eff5-4d67-b81e-ca1c03f44d5e" providerId="ADAL" clId="{4C101632-3DFE-45F7-B101-7CA472A4F535}" dt="2022-12-02T13:59:27.722" v="254" actId="931"/>
          <ac:spMkLst>
            <pc:docMk/>
            <pc:sldMk cId="560141169" sldId="838841236"/>
            <ac:spMk id="5" creationId="{9E2CE568-717E-42AC-BDA7-B9A281F13686}"/>
          </ac:spMkLst>
        </pc:spChg>
        <pc:spChg chg="del">
          <ac:chgData name="Berlow, Jason" userId="2ca71643-eff5-4d67-b81e-ca1c03f44d5e" providerId="ADAL" clId="{4C101632-3DFE-45F7-B101-7CA472A4F535}" dt="2022-12-02T16:29:31.018" v="690" actId="21"/>
          <ac:spMkLst>
            <pc:docMk/>
            <pc:sldMk cId="560141169" sldId="838841236"/>
            <ac:spMk id="11" creationId="{44E20599-85C8-4DAF-8298-64D9EDF0801F}"/>
          </ac:spMkLst>
        </pc:spChg>
        <pc:picChg chg="del">
          <ac:chgData name="Berlow, Jason" userId="2ca71643-eff5-4d67-b81e-ca1c03f44d5e" providerId="ADAL" clId="{4C101632-3DFE-45F7-B101-7CA472A4F535}" dt="2022-12-02T13:58:32.225" v="253" actId="478"/>
          <ac:picMkLst>
            <pc:docMk/>
            <pc:sldMk cId="560141169" sldId="838841236"/>
            <ac:picMk id="7" creationId="{3A761AE4-B285-4626-B17C-846942584484}"/>
          </ac:picMkLst>
        </pc:picChg>
        <pc:picChg chg="add mod">
          <ac:chgData name="Berlow, Jason" userId="2ca71643-eff5-4d67-b81e-ca1c03f44d5e" providerId="ADAL" clId="{4C101632-3DFE-45F7-B101-7CA472A4F535}" dt="2022-12-02T13:59:30.617" v="257" actId="962"/>
          <ac:picMkLst>
            <pc:docMk/>
            <pc:sldMk cId="560141169" sldId="838841236"/>
            <ac:picMk id="8" creationId="{09A54DD6-6742-4156-AE48-56ADC02F1E9C}"/>
          </ac:picMkLst>
        </pc:picChg>
      </pc:sldChg>
      <pc:sldChg chg="modSp add mod">
        <pc:chgData name="Berlow, Jason" userId="2ca71643-eff5-4d67-b81e-ca1c03f44d5e" providerId="ADAL" clId="{4C101632-3DFE-45F7-B101-7CA472A4F535}" dt="2022-12-02T16:04:16.581" v="413" actId="20577"/>
        <pc:sldMkLst>
          <pc:docMk/>
          <pc:sldMk cId="4237608706" sldId="838841237"/>
        </pc:sldMkLst>
        <pc:spChg chg="mod">
          <ac:chgData name="Berlow, Jason" userId="2ca71643-eff5-4d67-b81e-ca1c03f44d5e" providerId="ADAL" clId="{4C101632-3DFE-45F7-B101-7CA472A4F535}" dt="2022-12-02T16:04:16.581" v="413" actId="20577"/>
          <ac:spMkLst>
            <pc:docMk/>
            <pc:sldMk cId="4237608706" sldId="838841237"/>
            <ac:spMk id="3" creationId="{A611C638-D842-4B14-8BD5-B5AF89D59BC8}"/>
          </ac:spMkLst>
        </pc:spChg>
      </pc:sldChg>
      <pc:sldChg chg="modSp add mod">
        <pc:chgData name="Berlow, Jason" userId="2ca71643-eff5-4d67-b81e-ca1c03f44d5e" providerId="ADAL" clId="{4C101632-3DFE-45F7-B101-7CA472A4F535}" dt="2022-12-04T15:27:08.325" v="861" actId="20577"/>
        <pc:sldMkLst>
          <pc:docMk/>
          <pc:sldMk cId="2986595464" sldId="838841305"/>
        </pc:sldMkLst>
        <pc:spChg chg="mod">
          <ac:chgData name="Berlow, Jason" userId="2ca71643-eff5-4d67-b81e-ca1c03f44d5e" providerId="ADAL" clId="{4C101632-3DFE-45F7-B101-7CA472A4F535}" dt="2022-12-04T15:27:08.325" v="861" actId="20577"/>
          <ac:spMkLst>
            <pc:docMk/>
            <pc:sldMk cId="2986595464" sldId="838841305"/>
            <ac:spMk id="2" creationId="{B3E3D59B-FFF8-4A6E-8171-0177E4CE3997}"/>
          </ac:spMkLst>
        </pc:spChg>
      </pc:sldChg>
    </pc:docChg>
  </pc:docChgLst>
  <pc:docChgLst>
    <pc:chgData name="Points, Kari" userId="S::kari.points@va.gov::d3d08481-d9e7-4f0b-8844-65fed6518596" providerId="AD" clId="Web-{2721B998-65FE-A6A4-3B39-3D43AE3A1DD3}"/>
    <pc:docChg chg="addSld delSld">
      <pc:chgData name="Points, Kari" userId="S::kari.points@va.gov::d3d08481-d9e7-4f0b-8844-65fed6518596" providerId="AD" clId="Web-{2721B998-65FE-A6A4-3B39-3D43AE3A1DD3}" dt="2022-12-07T19:34:39.037" v="1"/>
      <pc:docMkLst>
        <pc:docMk/>
      </pc:docMkLst>
      <pc:sldChg chg="new del">
        <pc:chgData name="Points, Kari" userId="S::kari.points@va.gov::d3d08481-d9e7-4f0b-8844-65fed6518596" providerId="AD" clId="Web-{2721B998-65FE-A6A4-3B39-3D43AE3A1DD3}" dt="2022-12-07T19:34:39.037" v="1"/>
        <pc:sldMkLst>
          <pc:docMk/>
          <pc:sldMk cId="4168547743" sldId="838841306"/>
        </pc:sldMkLst>
      </pc:sldChg>
    </pc:docChg>
  </pc:docChgLst>
  <pc:docChgLst>
    <pc:chgData name="Points, Kari" userId="S::kari.points@va.gov::d3d08481-d9e7-4f0b-8844-65fed6518596" providerId="AD" clId="Web-{71EB7227-2015-9375-FEC1-6C3B1DB0D573}"/>
    <pc:docChg chg="addSld delSld modSld sldOrd">
      <pc:chgData name="Points, Kari" userId="S::kari.points@va.gov::d3d08481-d9e7-4f0b-8844-65fed6518596" providerId="AD" clId="Web-{71EB7227-2015-9375-FEC1-6C3B1DB0D573}" dt="2022-12-01T19:55:55.551" v="687" actId="20577"/>
      <pc:docMkLst>
        <pc:docMk/>
      </pc:docMkLst>
      <pc:sldChg chg="modSp">
        <pc:chgData name="Points, Kari" userId="S::kari.points@va.gov::d3d08481-d9e7-4f0b-8844-65fed6518596" providerId="AD" clId="Web-{71EB7227-2015-9375-FEC1-6C3B1DB0D573}" dt="2022-12-01T19:44:13.653" v="411"/>
        <pc:sldMkLst>
          <pc:docMk/>
          <pc:sldMk cId="4120565422" sldId="257"/>
        </pc:sldMkLst>
        <pc:graphicFrameChg chg="mod modGraphic">
          <ac:chgData name="Points, Kari" userId="S::kari.points@va.gov::d3d08481-d9e7-4f0b-8844-65fed6518596" providerId="AD" clId="Web-{71EB7227-2015-9375-FEC1-6C3B1DB0D573}" dt="2022-12-01T19:44:13.653" v="411"/>
          <ac:graphicFrameMkLst>
            <pc:docMk/>
            <pc:sldMk cId="4120565422" sldId="257"/>
            <ac:graphicFrameMk id="7" creationId="{872EE588-0261-4597-9BCD-D1DBA24B22CA}"/>
          </ac:graphicFrameMkLst>
        </pc:graphicFrameChg>
      </pc:sldChg>
      <pc:sldChg chg="modSp">
        <pc:chgData name="Points, Kari" userId="S::kari.points@va.gov::d3d08481-d9e7-4f0b-8844-65fed6518596" providerId="AD" clId="Web-{71EB7227-2015-9375-FEC1-6C3B1DB0D573}" dt="2022-12-01T19:53:17.752" v="530" actId="20577"/>
        <pc:sldMkLst>
          <pc:docMk/>
          <pc:sldMk cId="2366223156" sldId="838841171"/>
        </pc:sldMkLst>
        <pc:spChg chg="mod">
          <ac:chgData name="Points, Kari" userId="S::kari.points@va.gov::d3d08481-d9e7-4f0b-8844-65fed6518596" providerId="AD" clId="Web-{71EB7227-2015-9375-FEC1-6C3B1DB0D573}" dt="2022-12-01T19:53:17.752" v="530" actId="20577"/>
          <ac:spMkLst>
            <pc:docMk/>
            <pc:sldMk cId="2366223156" sldId="838841171"/>
            <ac:spMk id="3" creationId="{5363EE06-3557-4256-0A26-C4B840F66724}"/>
          </ac:spMkLst>
        </pc:spChg>
      </pc:sldChg>
      <pc:sldChg chg="addSp delSp modSp">
        <pc:chgData name="Points, Kari" userId="S::kari.points@va.gov::d3d08481-d9e7-4f0b-8844-65fed6518596" providerId="AD" clId="Web-{71EB7227-2015-9375-FEC1-6C3B1DB0D573}" dt="2022-12-01T19:24:55.734" v="0"/>
        <pc:sldMkLst>
          <pc:docMk/>
          <pc:sldMk cId="1176425062" sldId="838841180"/>
        </pc:sldMkLst>
        <pc:spChg chg="del">
          <ac:chgData name="Points, Kari" userId="S::kari.points@va.gov::d3d08481-d9e7-4f0b-8844-65fed6518596" providerId="AD" clId="Web-{71EB7227-2015-9375-FEC1-6C3B1DB0D573}" dt="2022-12-01T19:24:55.734" v="0"/>
          <ac:spMkLst>
            <pc:docMk/>
            <pc:sldMk cId="1176425062" sldId="838841180"/>
            <ac:spMk id="3" creationId="{662C8F4E-D25F-DA71-8A49-07535A2FD016}"/>
          </ac:spMkLst>
        </pc:spChg>
        <pc:picChg chg="add mod ord">
          <ac:chgData name="Points, Kari" userId="S::kari.points@va.gov::d3d08481-d9e7-4f0b-8844-65fed6518596" providerId="AD" clId="Web-{71EB7227-2015-9375-FEC1-6C3B1DB0D573}" dt="2022-12-01T19:24:55.734" v="0"/>
          <ac:picMkLst>
            <pc:docMk/>
            <pc:sldMk cId="1176425062" sldId="838841180"/>
            <ac:picMk id="6" creationId="{C1E5369C-C4C0-80C8-3CC4-C3C8D43768C7}"/>
          </ac:picMkLst>
        </pc:picChg>
      </pc:sldChg>
      <pc:sldChg chg="addSp delSp modSp">
        <pc:chgData name="Points, Kari" userId="S::kari.points@va.gov::d3d08481-d9e7-4f0b-8844-65fed6518596" providerId="AD" clId="Web-{71EB7227-2015-9375-FEC1-6C3B1DB0D573}" dt="2022-12-01T19:54:41.706" v="682" actId="20577"/>
        <pc:sldMkLst>
          <pc:docMk/>
          <pc:sldMk cId="14655231" sldId="838841209"/>
        </pc:sldMkLst>
        <pc:spChg chg="add del">
          <ac:chgData name="Points, Kari" userId="S::kari.points@va.gov::d3d08481-d9e7-4f0b-8844-65fed6518596" providerId="AD" clId="Web-{71EB7227-2015-9375-FEC1-6C3B1DB0D573}" dt="2022-12-01T19:49:42.406" v="414"/>
          <ac:spMkLst>
            <pc:docMk/>
            <pc:sldMk cId="14655231" sldId="838841209"/>
            <ac:spMk id="3" creationId="{662C8F4E-D25F-DA71-8A49-07535A2FD016}"/>
          </ac:spMkLst>
        </pc:spChg>
        <pc:spChg chg="add mod">
          <ac:chgData name="Points, Kari" userId="S::kari.points@va.gov::d3d08481-d9e7-4f0b-8844-65fed6518596" providerId="AD" clId="Web-{71EB7227-2015-9375-FEC1-6C3B1DB0D573}" dt="2022-12-01T19:54:41.706" v="682" actId="20577"/>
          <ac:spMkLst>
            <pc:docMk/>
            <pc:sldMk cId="14655231" sldId="838841209"/>
            <ac:spMk id="8" creationId="{D6165590-1C3D-C745-8705-DF702DD488B9}"/>
          </ac:spMkLst>
        </pc:spChg>
        <pc:picChg chg="add del mod ord">
          <ac:chgData name="Points, Kari" userId="S::kari.points@va.gov::d3d08481-d9e7-4f0b-8844-65fed6518596" providerId="AD" clId="Web-{71EB7227-2015-9375-FEC1-6C3B1DB0D573}" dt="2022-12-01T19:25:25.640" v="4"/>
          <ac:picMkLst>
            <pc:docMk/>
            <pc:sldMk cId="14655231" sldId="838841209"/>
            <ac:picMk id="6" creationId="{6F02ABB5-EC87-EB85-313D-48809E404ADB}"/>
          </ac:picMkLst>
        </pc:picChg>
        <pc:picChg chg="add mod ord">
          <ac:chgData name="Points, Kari" userId="S::kari.points@va.gov::d3d08481-d9e7-4f0b-8844-65fed6518596" providerId="AD" clId="Web-{71EB7227-2015-9375-FEC1-6C3B1DB0D573}" dt="2022-12-01T19:53:28.580" v="531" actId="1076"/>
          <ac:picMkLst>
            <pc:docMk/>
            <pc:sldMk cId="14655231" sldId="838841209"/>
            <ac:picMk id="7" creationId="{374F7CC8-6CA6-14D7-01E2-2683BEB4F1B7}"/>
          </ac:picMkLst>
        </pc:picChg>
      </pc:sldChg>
      <pc:sldChg chg="modSp">
        <pc:chgData name="Points, Kari" userId="S::kari.points@va.gov::d3d08481-d9e7-4f0b-8844-65fed6518596" providerId="AD" clId="Web-{71EB7227-2015-9375-FEC1-6C3B1DB0D573}" dt="2022-12-01T19:54:49.894" v="685" actId="20577"/>
        <pc:sldMkLst>
          <pc:docMk/>
          <pc:sldMk cId="919342513" sldId="838841210"/>
        </pc:sldMkLst>
        <pc:spChg chg="mod">
          <ac:chgData name="Points, Kari" userId="S::kari.points@va.gov::d3d08481-d9e7-4f0b-8844-65fed6518596" providerId="AD" clId="Web-{71EB7227-2015-9375-FEC1-6C3B1DB0D573}" dt="2022-12-01T19:54:49.894" v="685" actId="20577"/>
          <ac:spMkLst>
            <pc:docMk/>
            <pc:sldMk cId="919342513" sldId="838841210"/>
            <ac:spMk id="3" creationId="{662C8F4E-D25F-DA71-8A49-07535A2FD016}"/>
          </ac:spMkLst>
        </pc:spChg>
      </pc:sldChg>
      <pc:sldChg chg="modSp">
        <pc:chgData name="Points, Kari" userId="S::kari.points@va.gov::d3d08481-d9e7-4f0b-8844-65fed6518596" providerId="AD" clId="Web-{71EB7227-2015-9375-FEC1-6C3B1DB0D573}" dt="2022-12-01T19:44:46.934" v="413" actId="20577"/>
        <pc:sldMkLst>
          <pc:docMk/>
          <pc:sldMk cId="2166474339" sldId="838841212"/>
        </pc:sldMkLst>
        <pc:spChg chg="mod">
          <ac:chgData name="Points, Kari" userId="S::kari.points@va.gov::d3d08481-d9e7-4f0b-8844-65fed6518596" providerId="AD" clId="Web-{71EB7227-2015-9375-FEC1-6C3B1DB0D573}" dt="2022-12-01T19:44:46.934" v="413" actId="20577"/>
          <ac:spMkLst>
            <pc:docMk/>
            <pc:sldMk cId="2166474339" sldId="838841212"/>
            <ac:spMk id="2" creationId="{DE734B2B-00B8-4DE1-B9F5-FAEDF7053972}"/>
          </ac:spMkLst>
        </pc:spChg>
      </pc:sldChg>
      <pc:sldChg chg="new del">
        <pc:chgData name="Points, Kari" userId="S::kari.points@va.gov::d3d08481-d9e7-4f0b-8844-65fed6518596" providerId="AD" clId="Web-{71EB7227-2015-9375-FEC1-6C3B1DB0D573}" dt="2022-12-01T19:25:32.422" v="6"/>
        <pc:sldMkLst>
          <pc:docMk/>
          <pc:sldMk cId="1565702791" sldId="838841214"/>
        </pc:sldMkLst>
      </pc:sldChg>
      <pc:sldChg chg="addSp delSp modSp new">
        <pc:chgData name="Points, Kari" userId="S::kari.points@va.gov::d3d08481-d9e7-4f0b-8844-65fed6518596" providerId="AD" clId="Web-{71EB7227-2015-9375-FEC1-6C3B1DB0D573}" dt="2022-12-01T19:40:32.181" v="327" actId="20577"/>
        <pc:sldMkLst>
          <pc:docMk/>
          <pc:sldMk cId="3247358776" sldId="838841214"/>
        </pc:sldMkLst>
        <pc:spChg chg="mod">
          <ac:chgData name="Points, Kari" userId="S::kari.points@va.gov::d3d08481-d9e7-4f0b-8844-65fed6518596" providerId="AD" clId="Web-{71EB7227-2015-9375-FEC1-6C3B1DB0D573}" dt="2022-12-01T19:25:41.703" v="9" actId="20577"/>
          <ac:spMkLst>
            <pc:docMk/>
            <pc:sldMk cId="3247358776" sldId="838841214"/>
            <ac:spMk id="2" creationId="{44A52D60-47DE-053B-7799-5D0C8477AC1D}"/>
          </ac:spMkLst>
        </pc:spChg>
        <pc:spChg chg="del">
          <ac:chgData name="Points, Kari" userId="S::kari.points@va.gov::d3d08481-d9e7-4f0b-8844-65fed6518596" providerId="AD" clId="Web-{71EB7227-2015-9375-FEC1-6C3B1DB0D573}" dt="2022-12-01T19:25:45.750" v="10"/>
          <ac:spMkLst>
            <pc:docMk/>
            <pc:sldMk cId="3247358776" sldId="838841214"/>
            <ac:spMk id="3" creationId="{64B670AA-8DED-E5D7-BCBE-EED0EB198361}"/>
          </ac:spMkLst>
        </pc:spChg>
        <pc:spChg chg="add del mod">
          <ac:chgData name="Points, Kari" userId="S::kari.points@va.gov::d3d08481-d9e7-4f0b-8844-65fed6518596" providerId="AD" clId="Web-{71EB7227-2015-9375-FEC1-6C3B1DB0D573}" dt="2022-12-01T19:29:52.815" v="27"/>
          <ac:spMkLst>
            <pc:docMk/>
            <pc:sldMk cId="3247358776" sldId="838841214"/>
            <ac:spMk id="7" creationId="{D583BB85-8A46-362A-3E84-FA7EE50C3747}"/>
          </ac:spMkLst>
        </pc:spChg>
        <pc:spChg chg="add del mod">
          <ac:chgData name="Points, Kari" userId="S::kari.points@va.gov::d3d08481-d9e7-4f0b-8844-65fed6518596" providerId="AD" clId="Web-{71EB7227-2015-9375-FEC1-6C3B1DB0D573}" dt="2022-12-01T19:29:32.815" v="22"/>
          <ac:spMkLst>
            <pc:docMk/>
            <pc:sldMk cId="3247358776" sldId="838841214"/>
            <ac:spMk id="9" creationId="{EF2D1486-BD06-DE24-D2D5-321EAC28F548}"/>
          </ac:spMkLst>
        </pc:spChg>
        <pc:spChg chg="add del mod">
          <ac:chgData name="Points, Kari" userId="S::kari.points@va.gov::d3d08481-d9e7-4f0b-8844-65fed6518596" providerId="AD" clId="Web-{71EB7227-2015-9375-FEC1-6C3B1DB0D573}" dt="2022-12-01T19:40:32.181" v="327" actId="20577"/>
          <ac:spMkLst>
            <pc:docMk/>
            <pc:sldMk cId="3247358776" sldId="838841214"/>
            <ac:spMk id="12" creationId="{33D4FA76-0FF4-0271-F45C-5D298EF0AC9A}"/>
          </ac:spMkLst>
        </pc:spChg>
        <pc:picChg chg="add del mod ord">
          <ac:chgData name="Points, Kari" userId="S::kari.points@va.gov::d3d08481-d9e7-4f0b-8844-65fed6518596" providerId="AD" clId="Web-{71EB7227-2015-9375-FEC1-6C3B1DB0D573}" dt="2022-12-01T19:29:30.674" v="21"/>
          <ac:picMkLst>
            <pc:docMk/>
            <pc:sldMk cId="3247358776" sldId="838841214"/>
            <ac:picMk id="6" creationId="{F8B5F8F1-774C-F736-BEED-D81F3F0B2246}"/>
          </ac:picMkLst>
        </pc:picChg>
        <pc:picChg chg="add mod ord">
          <ac:chgData name="Points, Kari" userId="S::kari.points@va.gov::d3d08481-d9e7-4f0b-8844-65fed6518596" providerId="AD" clId="Web-{71EB7227-2015-9375-FEC1-6C3B1DB0D573}" dt="2022-12-01T19:29:41.299" v="25" actId="1076"/>
          <ac:picMkLst>
            <pc:docMk/>
            <pc:sldMk cId="3247358776" sldId="838841214"/>
            <ac:picMk id="10" creationId="{E4F23683-BE53-3426-9803-41BDC2E4CB08}"/>
          </ac:picMkLst>
        </pc:picChg>
        <pc:picChg chg="add del mod">
          <ac:chgData name="Points, Kari" userId="S::kari.points@va.gov::d3d08481-d9e7-4f0b-8844-65fed6518596" providerId="AD" clId="Web-{71EB7227-2015-9375-FEC1-6C3B1DB0D573}" dt="2022-12-01T19:40:15.884" v="318"/>
          <ac:picMkLst>
            <pc:docMk/>
            <pc:sldMk cId="3247358776" sldId="838841214"/>
            <ac:picMk id="11" creationId="{65A2E811-FA8C-6678-1002-08BFDDD1C2B5}"/>
          </ac:picMkLst>
        </pc:picChg>
      </pc:sldChg>
      <pc:sldChg chg="addSp delSp modSp new">
        <pc:chgData name="Points, Kari" userId="S::kari.points@va.gov::d3d08481-d9e7-4f0b-8844-65fed6518596" providerId="AD" clId="Web-{71EB7227-2015-9375-FEC1-6C3B1DB0D573}" dt="2022-12-01T19:55:55.551" v="687" actId="20577"/>
        <pc:sldMkLst>
          <pc:docMk/>
          <pc:sldMk cId="4085233566" sldId="838841215"/>
        </pc:sldMkLst>
        <pc:spChg chg="mod">
          <ac:chgData name="Points, Kari" userId="S::kari.points@va.gov::d3d08481-d9e7-4f0b-8844-65fed6518596" providerId="AD" clId="Web-{71EB7227-2015-9375-FEC1-6C3B1DB0D573}" dt="2022-12-01T19:26:34.672" v="20" actId="20577"/>
          <ac:spMkLst>
            <pc:docMk/>
            <pc:sldMk cId="4085233566" sldId="838841215"/>
            <ac:spMk id="2" creationId="{4A07BD17-EF4A-B5CB-AD10-A8BDC9753A2E}"/>
          </ac:spMkLst>
        </pc:spChg>
        <pc:spChg chg="del">
          <ac:chgData name="Points, Kari" userId="S::kari.points@va.gov::d3d08481-d9e7-4f0b-8844-65fed6518596" providerId="AD" clId="Web-{71EB7227-2015-9375-FEC1-6C3B1DB0D573}" dt="2022-12-01T19:42:46.667" v="329"/>
          <ac:spMkLst>
            <pc:docMk/>
            <pc:sldMk cId="4085233566" sldId="838841215"/>
            <ac:spMk id="3" creationId="{F69747A7-A912-7D78-C24F-F9E0E2DB1056}"/>
          </ac:spMkLst>
        </pc:spChg>
        <pc:spChg chg="add mod">
          <ac:chgData name="Points, Kari" userId="S::kari.points@va.gov::d3d08481-d9e7-4f0b-8844-65fed6518596" providerId="AD" clId="Web-{71EB7227-2015-9375-FEC1-6C3B1DB0D573}" dt="2022-12-01T19:55:55.551" v="687" actId="20577"/>
          <ac:spMkLst>
            <pc:docMk/>
            <pc:sldMk cId="4085233566" sldId="838841215"/>
            <ac:spMk id="7" creationId="{D4463681-0C47-CC8D-D2E4-C1FA5B69A1BD}"/>
          </ac:spMkLst>
        </pc:spChg>
        <pc:picChg chg="add mod ord">
          <ac:chgData name="Points, Kari" userId="S::kari.points@va.gov::d3d08481-d9e7-4f0b-8844-65fed6518596" providerId="AD" clId="Web-{71EB7227-2015-9375-FEC1-6C3B1DB0D573}" dt="2022-12-01T19:42:52.355" v="331" actId="1076"/>
          <ac:picMkLst>
            <pc:docMk/>
            <pc:sldMk cId="4085233566" sldId="838841215"/>
            <ac:picMk id="6" creationId="{6BA96F57-41C3-7546-FB19-7AE8C044F14A}"/>
          </ac:picMkLst>
        </pc:picChg>
      </pc:sldChg>
      <pc:sldChg chg="addSp delSp modSp new">
        <pc:chgData name="Points, Kari" userId="S::kari.points@va.gov::d3d08481-d9e7-4f0b-8844-65fed6518596" providerId="AD" clId="Web-{71EB7227-2015-9375-FEC1-6C3B1DB0D573}" dt="2022-12-01T19:40:49.525" v="328" actId="1076"/>
        <pc:sldMkLst>
          <pc:docMk/>
          <pc:sldMk cId="1891851091" sldId="838841216"/>
        </pc:sldMkLst>
        <pc:spChg chg="mod">
          <ac:chgData name="Points, Kari" userId="S::kari.points@va.gov::d3d08481-d9e7-4f0b-8844-65fed6518596" providerId="AD" clId="Web-{71EB7227-2015-9375-FEC1-6C3B1DB0D573}" dt="2022-12-01T19:31:10.519" v="35" actId="20577"/>
          <ac:spMkLst>
            <pc:docMk/>
            <pc:sldMk cId="1891851091" sldId="838841216"/>
            <ac:spMk id="2" creationId="{5CFB8DAA-AF2E-ADAD-136E-ED8073714ABB}"/>
          </ac:spMkLst>
        </pc:spChg>
        <pc:spChg chg="del">
          <ac:chgData name="Points, Kari" userId="S::kari.points@va.gov::d3d08481-d9e7-4f0b-8844-65fed6518596" providerId="AD" clId="Web-{71EB7227-2015-9375-FEC1-6C3B1DB0D573}" dt="2022-12-01T19:32:25.723" v="36"/>
          <ac:spMkLst>
            <pc:docMk/>
            <pc:sldMk cId="1891851091" sldId="838841216"/>
            <ac:spMk id="3" creationId="{C452D607-6516-6905-1E6C-1A052C32E6EB}"/>
          </ac:spMkLst>
        </pc:spChg>
        <pc:spChg chg="add mod">
          <ac:chgData name="Points, Kari" userId="S::kari.points@va.gov::d3d08481-d9e7-4f0b-8844-65fed6518596" providerId="AD" clId="Web-{71EB7227-2015-9375-FEC1-6C3B1DB0D573}" dt="2022-12-01T19:34:06.927" v="148" actId="20577"/>
          <ac:spMkLst>
            <pc:docMk/>
            <pc:sldMk cId="1891851091" sldId="838841216"/>
            <ac:spMk id="7" creationId="{D8E7D82A-E7EA-CF2E-162D-D31199FA4A13}"/>
          </ac:spMkLst>
        </pc:spChg>
        <pc:spChg chg="add mod">
          <ac:chgData name="Points, Kari" userId="S::kari.points@va.gov::d3d08481-d9e7-4f0b-8844-65fed6518596" providerId="AD" clId="Web-{71EB7227-2015-9375-FEC1-6C3B1DB0D573}" dt="2022-12-01T19:39:31.431" v="317" actId="20577"/>
          <ac:spMkLst>
            <pc:docMk/>
            <pc:sldMk cId="1891851091" sldId="838841216"/>
            <ac:spMk id="8" creationId="{27FE0976-895D-7523-5961-152C0A010EB1}"/>
          </ac:spMkLst>
        </pc:spChg>
        <pc:picChg chg="add mod ord">
          <ac:chgData name="Points, Kari" userId="S::kari.points@va.gov::d3d08481-d9e7-4f0b-8844-65fed6518596" providerId="AD" clId="Web-{71EB7227-2015-9375-FEC1-6C3B1DB0D573}" dt="2022-12-01T19:32:30.989" v="38" actId="14100"/>
          <ac:picMkLst>
            <pc:docMk/>
            <pc:sldMk cId="1891851091" sldId="838841216"/>
            <ac:picMk id="6" creationId="{CBE04821-82ED-E7BA-0B1F-4ACC94415FA2}"/>
          </ac:picMkLst>
        </pc:picChg>
        <pc:cxnChg chg="add mod">
          <ac:chgData name="Points, Kari" userId="S::kari.points@va.gov::d3d08481-d9e7-4f0b-8844-65fed6518596" providerId="AD" clId="Web-{71EB7227-2015-9375-FEC1-6C3B1DB0D573}" dt="2022-12-01T19:38:57.962" v="277" actId="1076"/>
          <ac:cxnSpMkLst>
            <pc:docMk/>
            <pc:sldMk cId="1891851091" sldId="838841216"/>
            <ac:cxnSpMk id="9" creationId="{DE3C7329-FBA1-F726-1AC8-596CC94E3A26}"/>
          </ac:cxnSpMkLst>
        </pc:cxnChg>
        <pc:cxnChg chg="add mod">
          <ac:chgData name="Points, Kari" userId="S::kari.points@va.gov::d3d08481-d9e7-4f0b-8844-65fed6518596" providerId="AD" clId="Web-{71EB7227-2015-9375-FEC1-6C3B1DB0D573}" dt="2022-12-01T19:40:49.525" v="328" actId="1076"/>
          <ac:cxnSpMkLst>
            <pc:docMk/>
            <pc:sldMk cId="1891851091" sldId="838841216"/>
            <ac:cxnSpMk id="10" creationId="{9598F59F-7E02-7303-6079-12BA7C73C798}"/>
          </ac:cxnSpMkLst>
        </pc:cxnChg>
      </pc:sldChg>
      <pc:sldChg chg="addSp modSp new ord">
        <pc:chgData name="Points, Kari" userId="S::kari.points@va.gov::d3d08481-d9e7-4f0b-8844-65fed6518596" providerId="AD" clId="Web-{71EB7227-2015-9375-FEC1-6C3B1DB0D573}" dt="2022-12-01T19:35:53.085" v="230" actId="20577"/>
        <pc:sldMkLst>
          <pc:docMk/>
          <pc:sldMk cId="422101721" sldId="838841217"/>
        </pc:sldMkLst>
        <pc:spChg chg="mod">
          <ac:chgData name="Points, Kari" userId="S::kari.points@va.gov::d3d08481-d9e7-4f0b-8844-65fed6518596" providerId="AD" clId="Web-{71EB7227-2015-9375-FEC1-6C3B1DB0D573}" dt="2022-12-01T19:34:21.724" v="152" actId="20577"/>
          <ac:spMkLst>
            <pc:docMk/>
            <pc:sldMk cId="422101721" sldId="838841217"/>
            <ac:spMk id="2" creationId="{D0320702-21DA-5C7C-047C-E5048105E213}"/>
          </ac:spMkLst>
        </pc:spChg>
        <pc:spChg chg="mod">
          <ac:chgData name="Points, Kari" userId="S::kari.points@va.gov::d3d08481-d9e7-4f0b-8844-65fed6518596" providerId="AD" clId="Web-{71EB7227-2015-9375-FEC1-6C3B1DB0D573}" dt="2022-12-01T19:35:53.085" v="230" actId="20577"/>
          <ac:spMkLst>
            <pc:docMk/>
            <pc:sldMk cId="422101721" sldId="838841217"/>
            <ac:spMk id="3" creationId="{C872552E-BFBC-1E6A-8A00-216FD8B1311C}"/>
          </ac:spMkLst>
        </pc:spChg>
        <pc:picChg chg="add mod">
          <ac:chgData name="Points, Kari" userId="S::kari.points@va.gov::d3d08481-d9e7-4f0b-8844-65fed6518596" providerId="AD" clId="Web-{71EB7227-2015-9375-FEC1-6C3B1DB0D573}" dt="2022-12-01T19:35:26.959" v="224" actId="14100"/>
          <ac:picMkLst>
            <pc:docMk/>
            <pc:sldMk cId="422101721" sldId="838841217"/>
            <ac:picMk id="6" creationId="{E8024880-95B6-7C3C-0CD2-723E8B5B8FF5}"/>
          </ac:picMkLst>
        </pc:picChg>
        <pc:cxnChg chg="add mod">
          <ac:chgData name="Points, Kari" userId="S::kari.points@va.gov::d3d08481-d9e7-4f0b-8844-65fed6518596" providerId="AD" clId="Web-{71EB7227-2015-9375-FEC1-6C3B1DB0D573}" dt="2022-12-01T19:35:46.085" v="229"/>
          <ac:cxnSpMkLst>
            <pc:docMk/>
            <pc:sldMk cId="422101721" sldId="838841217"/>
            <ac:cxnSpMk id="7" creationId="{E607661B-F550-D286-296F-9ACC54F4EB0B}"/>
          </ac:cxnSpMkLst>
        </pc:cxnChg>
      </pc:sldChg>
    </pc:docChg>
  </pc:docChgLst>
  <pc:docChgLst>
    <pc:chgData name="Points, Kari" userId="S::kari.points@va.gov::d3d08481-d9e7-4f0b-8844-65fed6518596" providerId="AD" clId="Web-{5D134B5C-ACD5-DAB2-F0B5-6ACF68ABE4B5}"/>
    <pc:docChg chg="addSld delSld modSld sldOrd">
      <pc:chgData name="Points, Kari" userId="S::kari.points@va.gov::d3d08481-d9e7-4f0b-8844-65fed6518596" providerId="AD" clId="Web-{5D134B5C-ACD5-DAB2-F0B5-6ACF68ABE4B5}" dt="2022-12-01T23:22:20.439" v="5941"/>
      <pc:docMkLst>
        <pc:docMk/>
      </pc:docMkLst>
      <pc:sldChg chg="addSp modSp">
        <pc:chgData name="Points, Kari" userId="S::kari.points@va.gov::d3d08481-d9e7-4f0b-8844-65fed6518596" providerId="AD" clId="Web-{5D134B5C-ACD5-DAB2-F0B5-6ACF68ABE4B5}" dt="2022-12-01T21:53:58.615" v="1973" actId="20577"/>
        <pc:sldMkLst>
          <pc:docMk/>
          <pc:sldMk cId="66155223" sldId="264"/>
        </pc:sldMkLst>
        <pc:spChg chg="add mod">
          <ac:chgData name="Points, Kari" userId="S::kari.points@va.gov::d3d08481-d9e7-4f0b-8844-65fed6518596" providerId="AD" clId="Web-{5D134B5C-ACD5-DAB2-F0B5-6ACF68ABE4B5}" dt="2022-12-01T21:53:58.615" v="1973" actId="20577"/>
          <ac:spMkLst>
            <pc:docMk/>
            <pc:sldMk cId="66155223" sldId="264"/>
            <ac:spMk id="3" creationId="{66969E95-C3EB-F572-BE2A-F6BE479FCFC1}"/>
          </ac:spMkLst>
        </pc:spChg>
        <pc:spChg chg="add mod">
          <ac:chgData name="Points, Kari" userId="S::kari.points@va.gov::d3d08481-d9e7-4f0b-8844-65fed6518596" providerId="AD" clId="Web-{5D134B5C-ACD5-DAB2-F0B5-6ACF68ABE4B5}" dt="2022-12-01T21:53:20.505" v="1969" actId="1076"/>
          <ac:spMkLst>
            <pc:docMk/>
            <pc:sldMk cId="66155223" sldId="264"/>
            <ac:spMk id="8" creationId="{E89266B4-DF82-AF90-AEF1-BD468064BEDC}"/>
          </ac:spMkLst>
        </pc:spChg>
        <pc:picChg chg="add mod">
          <ac:chgData name="Points, Kari" userId="S::kari.points@va.gov::d3d08481-d9e7-4f0b-8844-65fed6518596" providerId="AD" clId="Web-{5D134B5C-ACD5-DAB2-F0B5-6ACF68ABE4B5}" dt="2022-12-01T21:53:18.099" v="1968" actId="1076"/>
          <ac:picMkLst>
            <pc:docMk/>
            <pc:sldMk cId="66155223" sldId="264"/>
            <ac:picMk id="5" creationId="{B2792B9F-DCBC-926A-97CD-0ACCC03C998A}"/>
          </ac:picMkLst>
        </pc:picChg>
      </pc:sldChg>
      <pc:sldChg chg="modSp">
        <pc:chgData name="Points, Kari" userId="S::kari.points@va.gov::d3d08481-d9e7-4f0b-8844-65fed6518596" providerId="AD" clId="Web-{5D134B5C-ACD5-DAB2-F0B5-6ACF68ABE4B5}" dt="2022-12-01T20:49:50.288" v="338" actId="20577"/>
        <pc:sldMkLst>
          <pc:docMk/>
          <pc:sldMk cId="2366223156" sldId="838841171"/>
        </pc:sldMkLst>
        <pc:spChg chg="mod">
          <ac:chgData name="Points, Kari" userId="S::kari.points@va.gov::d3d08481-d9e7-4f0b-8844-65fed6518596" providerId="AD" clId="Web-{5D134B5C-ACD5-DAB2-F0B5-6ACF68ABE4B5}" dt="2022-12-01T20:49:50.288" v="338" actId="20577"/>
          <ac:spMkLst>
            <pc:docMk/>
            <pc:sldMk cId="2366223156" sldId="838841171"/>
            <ac:spMk id="3" creationId="{5363EE06-3557-4256-0A26-C4B840F66724}"/>
          </ac:spMkLst>
        </pc:spChg>
      </pc:sldChg>
      <pc:sldChg chg="addSp modSp">
        <pc:chgData name="Points, Kari" userId="S::kari.points@va.gov::d3d08481-d9e7-4f0b-8844-65fed6518596" providerId="AD" clId="Web-{5D134B5C-ACD5-DAB2-F0B5-6ACF68ABE4B5}" dt="2022-12-01T20:39:31.173" v="87" actId="20577"/>
        <pc:sldMkLst>
          <pc:docMk/>
          <pc:sldMk cId="4194322645" sldId="838841181"/>
        </pc:sldMkLst>
        <pc:spChg chg="add mod">
          <ac:chgData name="Points, Kari" userId="S::kari.points@va.gov::d3d08481-d9e7-4f0b-8844-65fed6518596" providerId="AD" clId="Web-{5D134B5C-ACD5-DAB2-F0B5-6ACF68ABE4B5}" dt="2022-12-01T20:39:31.173" v="87" actId="20577"/>
          <ac:spMkLst>
            <pc:docMk/>
            <pc:sldMk cId="4194322645" sldId="838841181"/>
            <ac:spMk id="3" creationId="{E47DF335-6642-88AC-73E4-2E61F684DDC3}"/>
          </ac:spMkLst>
        </pc:spChg>
      </pc:sldChg>
      <pc:sldChg chg="addSp modSp del">
        <pc:chgData name="Points, Kari" userId="S::kari.points@va.gov::d3d08481-d9e7-4f0b-8844-65fed6518596" providerId="AD" clId="Web-{5D134B5C-ACD5-DAB2-F0B5-6ACF68ABE4B5}" dt="2022-12-01T22:11:14.608" v="3115"/>
        <pc:sldMkLst>
          <pc:docMk/>
          <pc:sldMk cId="1061092139" sldId="838841185"/>
        </pc:sldMkLst>
        <pc:spChg chg="add mod">
          <ac:chgData name="Points, Kari" userId="S::kari.points@va.gov::d3d08481-d9e7-4f0b-8844-65fed6518596" providerId="AD" clId="Web-{5D134B5C-ACD5-DAB2-F0B5-6ACF68ABE4B5}" dt="2022-12-01T22:11:02.811" v="3112" actId="14100"/>
          <ac:spMkLst>
            <pc:docMk/>
            <pc:sldMk cId="1061092139" sldId="838841185"/>
            <ac:spMk id="6" creationId="{AF8E2E86-FABF-EDAF-B472-9174631C227A}"/>
          </ac:spMkLst>
        </pc:spChg>
      </pc:sldChg>
      <pc:sldChg chg="modSp">
        <pc:chgData name="Points, Kari" userId="S::kari.points@va.gov::d3d08481-d9e7-4f0b-8844-65fed6518596" providerId="AD" clId="Web-{5D134B5C-ACD5-DAB2-F0B5-6ACF68ABE4B5}" dt="2022-12-01T22:51:07.861" v="5316" actId="20577"/>
        <pc:sldMkLst>
          <pc:docMk/>
          <pc:sldMk cId="3821358275" sldId="838841186"/>
        </pc:sldMkLst>
        <pc:spChg chg="mod">
          <ac:chgData name="Points, Kari" userId="S::kari.points@va.gov::d3d08481-d9e7-4f0b-8844-65fed6518596" providerId="AD" clId="Web-{5D134B5C-ACD5-DAB2-F0B5-6ACF68ABE4B5}" dt="2022-12-01T22:45:09.186" v="4887" actId="20577"/>
          <ac:spMkLst>
            <pc:docMk/>
            <pc:sldMk cId="3821358275" sldId="838841186"/>
            <ac:spMk id="2" creationId="{F153331A-8DD2-4B6C-9722-A67A88512A37}"/>
          </ac:spMkLst>
        </pc:spChg>
        <pc:spChg chg="mod">
          <ac:chgData name="Points, Kari" userId="S::kari.points@va.gov::d3d08481-d9e7-4f0b-8844-65fed6518596" providerId="AD" clId="Web-{5D134B5C-ACD5-DAB2-F0B5-6ACF68ABE4B5}" dt="2022-12-01T22:51:07.861" v="5316" actId="20577"/>
          <ac:spMkLst>
            <pc:docMk/>
            <pc:sldMk cId="3821358275" sldId="838841186"/>
            <ac:spMk id="8" creationId="{999BBCE3-1DB9-4340-97C2-4BB35C18E99B}"/>
          </ac:spMkLst>
        </pc:spChg>
      </pc:sldChg>
      <pc:sldChg chg="modSp">
        <pc:chgData name="Points, Kari" userId="S::kari.points@va.gov::d3d08481-d9e7-4f0b-8844-65fed6518596" providerId="AD" clId="Web-{5D134B5C-ACD5-DAB2-F0B5-6ACF68ABE4B5}" dt="2022-12-01T23:18:54.562" v="5931" actId="1076"/>
        <pc:sldMkLst>
          <pc:docMk/>
          <pc:sldMk cId="14655231" sldId="838841209"/>
        </pc:sldMkLst>
        <pc:spChg chg="mod">
          <ac:chgData name="Points, Kari" userId="S::kari.points@va.gov::d3d08481-d9e7-4f0b-8844-65fed6518596" providerId="AD" clId="Web-{5D134B5C-ACD5-DAB2-F0B5-6ACF68ABE4B5}" dt="2022-12-01T23:18:54.562" v="5931" actId="1076"/>
          <ac:spMkLst>
            <pc:docMk/>
            <pc:sldMk cId="14655231" sldId="838841209"/>
            <ac:spMk id="8" creationId="{D6165590-1C3D-C745-8705-DF702DD488B9}"/>
          </ac:spMkLst>
        </pc:spChg>
      </pc:sldChg>
      <pc:sldChg chg="addSp delSp modSp">
        <pc:chgData name="Points, Kari" userId="S::kari.points@va.gov::d3d08481-d9e7-4f0b-8844-65fed6518596" providerId="AD" clId="Web-{5D134B5C-ACD5-DAB2-F0B5-6ACF68ABE4B5}" dt="2022-12-01T20:51:01.054" v="341" actId="1076"/>
        <pc:sldMkLst>
          <pc:docMk/>
          <pc:sldMk cId="1723166317" sldId="838841211"/>
        </pc:sldMkLst>
        <pc:spChg chg="add del">
          <ac:chgData name="Points, Kari" userId="S::kari.points@va.gov::d3d08481-d9e7-4f0b-8844-65fed6518596" providerId="AD" clId="Web-{5D134B5C-ACD5-DAB2-F0B5-6ACF68ABE4B5}" dt="2022-12-01T20:37:35.672" v="12"/>
          <ac:spMkLst>
            <pc:docMk/>
            <pc:sldMk cId="1723166317" sldId="838841211"/>
            <ac:spMk id="6" creationId="{EBC22641-E615-4C31-9491-E09067EF98FD}"/>
          </ac:spMkLst>
        </pc:spChg>
        <pc:spChg chg="add del mod">
          <ac:chgData name="Points, Kari" userId="S::kari.points@va.gov::d3d08481-d9e7-4f0b-8844-65fed6518596" providerId="AD" clId="Web-{5D134B5C-ACD5-DAB2-F0B5-6ACF68ABE4B5}" dt="2022-12-01T20:50:59.210" v="340"/>
          <ac:spMkLst>
            <pc:docMk/>
            <pc:sldMk cId="1723166317" sldId="838841211"/>
            <ac:spMk id="9" creationId="{0A50BEF4-809A-3B26-1AD6-81EACE006D7D}"/>
          </ac:spMkLst>
        </pc:spChg>
        <pc:picChg chg="add del mod ord">
          <ac:chgData name="Points, Kari" userId="S::kari.points@va.gov::d3d08481-d9e7-4f0b-8844-65fed6518596" providerId="AD" clId="Web-{5D134B5C-ACD5-DAB2-F0B5-6ACF68ABE4B5}" dt="2022-12-01T20:37:23.032" v="11"/>
          <ac:picMkLst>
            <pc:docMk/>
            <pc:sldMk cId="1723166317" sldId="838841211"/>
            <ac:picMk id="3" creationId="{8D9B0CCE-960D-41C2-7ED8-2E834D968031}"/>
          </ac:picMkLst>
        </pc:picChg>
        <pc:picChg chg="add del mod ord">
          <ac:chgData name="Points, Kari" userId="S::kari.points@va.gov::d3d08481-d9e7-4f0b-8844-65fed6518596" providerId="AD" clId="Web-{5D134B5C-ACD5-DAB2-F0B5-6ACF68ABE4B5}" dt="2022-12-01T20:50:28.913" v="339"/>
          <ac:picMkLst>
            <pc:docMk/>
            <pc:sldMk cId="1723166317" sldId="838841211"/>
            <ac:picMk id="7" creationId="{877619BE-520B-03C1-AA65-0FB8126BEE8A}"/>
          </ac:picMkLst>
        </pc:picChg>
        <pc:picChg chg="add mod ord">
          <ac:chgData name="Points, Kari" userId="S::kari.points@va.gov::d3d08481-d9e7-4f0b-8844-65fed6518596" providerId="AD" clId="Web-{5D134B5C-ACD5-DAB2-F0B5-6ACF68ABE4B5}" dt="2022-12-01T20:51:01.054" v="341" actId="1076"/>
          <ac:picMkLst>
            <pc:docMk/>
            <pc:sldMk cId="1723166317" sldId="838841211"/>
            <ac:picMk id="10" creationId="{9D374CFF-4CE3-306F-5A81-1B6CA4C72EF1}"/>
          </ac:picMkLst>
        </pc:picChg>
      </pc:sldChg>
      <pc:sldChg chg="addSp modSp">
        <pc:chgData name="Points, Kari" userId="S::kari.points@va.gov::d3d08481-d9e7-4f0b-8844-65fed6518596" providerId="AD" clId="Web-{5D134B5C-ACD5-DAB2-F0B5-6ACF68ABE4B5}" dt="2022-12-01T21:02:46.887" v="757" actId="14100"/>
        <pc:sldMkLst>
          <pc:docMk/>
          <pc:sldMk cId="2166474339" sldId="838841212"/>
        </pc:sldMkLst>
        <pc:spChg chg="mod">
          <ac:chgData name="Points, Kari" userId="S::kari.points@va.gov::d3d08481-d9e7-4f0b-8844-65fed6518596" providerId="AD" clId="Web-{5D134B5C-ACD5-DAB2-F0B5-6ACF68ABE4B5}" dt="2022-12-01T21:02:42.450" v="755" actId="1076"/>
          <ac:spMkLst>
            <pc:docMk/>
            <pc:sldMk cId="2166474339" sldId="838841212"/>
            <ac:spMk id="6" creationId="{74693377-7992-46DE-A0F2-9888B9FA4AED}"/>
          </ac:spMkLst>
        </pc:spChg>
        <pc:picChg chg="add mod">
          <ac:chgData name="Points, Kari" userId="S::kari.points@va.gov::d3d08481-d9e7-4f0b-8844-65fed6518596" providerId="AD" clId="Web-{5D134B5C-ACD5-DAB2-F0B5-6ACF68ABE4B5}" dt="2022-12-01T21:02:46.887" v="757" actId="14100"/>
          <ac:picMkLst>
            <pc:docMk/>
            <pc:sldMk cId="2166474339" sldId="838841212"/>
            <ac:picMk id="3" creationId="{0AB1A725-7DA8-68AA-B6CB-34BF025A39C6}"/>
          </ac:picMkLst>
        </pc:picChg>
      </pc:sldChg>
      <pc:sldChg chg="addSp delSp modSp">
        <pc:chgData name="Points, Kari" userId="S::kari.points@va.gov::d3d08481-d9e7-4f0b-8844-65fed6518596" providerId="AD" clId="Web-{5D134B5C-ACD5-DAB2-F0B5-6ACF68ABE4B5}" dt="2022-12-01T22:03:33.854" v="2603" actId="1076"/>
        <pc:sldMkLst>
          <pc:docMk/>
          <pc:sldMk cId="1683637766" sldId="838841213"/>
        </pc:sldMkLst>
        <pc:spChg chg="mod">
          <ac:chgData name="Points, Kari" userId="S::kari.points@va.gov::d3d08481-d9e7-4f0b-8844-65fed6518596" providerId="AD" clId="Web-{5D134B5C-ACD5-DAB2-F0B5-6ACF68ABE4B5}" dt="2022-12-01T21:28:27.946" v="782" actId="20577"/>
          <ac:spMkLst>
            <pc:docMk/>
            <pc:sldMk cId="1683637766" sldId="838841213"/>
            <ac:spMk id="2" creationId="{DE734B2B-00B8-4DE1-B9F5-FAEDF7053972}"/>
          </ac:spMkLst>
        </pc:spChg>
        <pc:spChg chg="del mod">
          <ac:chgData name="Points, Kari" userId="S::kari.points@va.gov::d3d08481-d9e7-4f0b-8844-65fed6518596" providerId="AD" clId="Web-{5D134B5C-ACD5-DAB2-F0B5-6ACF68ABE4B5}" dt="2022-12-01T22:03:20.885" v="2599"/>
          <ac:spMkLst>
            <pc:docMk/>
            <pc:sldMk cId="1683637766" sldId="838841213"/>
            <ac:spMk id="6" creationId="{6F058A63-8231-486A-9883-4FC801B9C1D4}"/>
          </ac:spMkLst>
        </pc:spChg>
        <pc:spChg chg="add mod">
          <ac:chgData name="Points, Kari" userId="S::kari.points@va.gov::d3d08481-d9e7-4f0b-8844-65fed6518596" providerId="AD" clId="Web-{5D134B5C-ACD5-DAB2-F0B5-6ACF68ABE4B5}" dt="2022-12-01T22:03:26.916" v="2601" actId="1076"/>
          <ac:spMkLst>
            <pc:docMk/>
            <pc:sldMk cId="1683637766" sldId="838841213"/>
            <ac:spMk id="7" creationId="{363BA744-55B6-183F-769A-170FAE943222}"/>
          </ac:spMkLst>
        </pc:spChg>
        <pc:spChg chg="add mod">
          <ac:chgData name="Points, Kari" userId="S::kari.points@va.gov::d3d08481-d9e7-4f0b-8844-65fed6518596" providerId="AD" clId="Web-{5D134B5C-ACD5-DAB2-F0B5-6ACF68ABE4B5}" dt="2022-12-01T22:03:33.854" v="2603" actId="1076"/>
          <ac:spMkLst>
            <pc:docMk/>
            <pc:sldMk cId="1683637766" sldId="838841213"/>
            <ac:spMk id="9" creationId="{8653023F-3F83-A59D-2B8C-0C32E6D12B3C}"/>
          </ac:spMkLst>
        </pc:spChg>
        <pc:picChg chg="add mod">
          <ac:chgData name="Points, Kari" userId="S::kari.points@va.gov::d3d08481-d9e7-4f0b-8844-65fed6518596" providerId="AD" clId="Web-{5D134B5C-ACD5-DAB2-F0B5-6ACF68ABE4B5}" dt="2022-12-01T22:03:23.135" v="2600" actId="1076"/>
          <ac:picMkLst>
            <pc:docMk/>
            <pc:sldMk cId="1683637766" sldId="838841213"/>
            <ac:picMk id="3" creationId="{0181398F-7417-F8BD-4DBF-A283FE73EA09}"/>
          </ac:picMkLst>
        </pc:picChg>
        <pc:picChg chg="add mod">
          <ac:chgData name="Points, Kari" userId="S::kari.points@va.gov::d3d08481-d9e7-4f0b-8844-65fed6518596" providerId="AD" clId="Web-{5D134B5C-ACD5-DAB2-F0B5-6ACF68ABE4B5}" dt="2022-12-01T22:03:30.088" v="2602" actId="1076"/>
          <ac:picMkLst>
            <pc:docMk/>
            <pc:sldMk cId="1683637766" sldId="838841213"/>
            <ac:picMk id="8" creationId="{AF10F384-0049-8FFD-4097-1F2E618F7336}"/>
          </ac:picMkLst>
        </pc:picChg>
      </pc:sldChg>
      <pc:sldChg chg="addSp delSp modSp new mod modClrScheme chgLayout">
        <pc:chgData name="Points, Kari" userId="S::kari.points@va.gov::d3d08481-d9e7-4f0b-8844-65fed6518596" providerId="AD" clId="Web-{5D134B5C-ACD5-DAB2-F0B5-6ACF68ABE4B5}" dt="2022-12-01T20:52:02.523" v="348" actId="1076"/>
        <pc:sldMkLst>
          <pc:docMk/>
          <pc:sldMk cId="3706469346" sldId="838841218"/>
        </pc:sldMkLst>
        <pc:spChg chg="mod ord">
          <ac:chgData name="Points, Kari" userId="S::kari.points@va.gov::d3d08481-d9e7-4f0b-8844-65fed6518596" providerId="AD" clId="Web-{5D134B5C-ACD5-DAB2-F0B5-6ACF68ABE4B5}" dt="2022-12-01T20:40:17.236" v="91" actId="20577"/>
          <ac:spMkLst>
            <pc:docMk/>
            <pc:sldMk cId="3706469346" sldId="838841218"/>
            <ac:spMk id="2" creationId="{B984C04A-4231-2B82-4E3B-EDF808C1538B}"/>
          </ac:spMkLst>
        </pc:spChg>
        <pc:spChg chg="del mod ord">
          <ac:chgData name="Points, Kari" userId="S::kari.points@va.gov::d3d08481-d9e7-4f0b-8844-65fed6518596" providerId="AD" clId="Web-{5D134B5C-ACD5-DAB2-F0B5-6ACF68ABE4B5}" dt="2022-12-01T20:42:55.503" v="92"/>
          <ac:spMkLst>
            <pc:docMk/>
            <pc:sldMk cId="3706469346" sldId="838841218"/>
            <ac:spMk id="3" creationId="{69030E08-74C3-3330-EB22-666B8FAE3EEF}"/>
          </ac:spMkLst>
        </pc:spChg>
        <pc:spChg chg="mod ord">
          <ac:chgData name="Points, Kari" userId="S::kari.points@va.gov::d3d08481-d9e7-4f0b-8844-65fed6518596" providerId="AD" clId="Web-{5D134B5C-ACD5-DAB2-F0B5-6ACF68ABE4B5}" dt="2022-12-01T20:40:08.986" v="89"/>
          <ac:spMkLst>
            <pc:docMk/>
            <pc:sldMk cId="3706469346" sldId="838841218"/>
            <ac:spMk id="4" creationId="{2B282930-EF66-54EF-0EB3-99F2598B7745}"/>
          </ac:spMkLst>
        </pc:spChg>
        <pc:spChg chg="mod ord">
          <ac:chgData name="Points, Kari" userId="S::kari.points@va.gov::d3d08481-d9e7-4f0b-8844-65fed6518596" providerId="AD" clId="Web-{5D134B5C-ACD5-DAB2-F0B5-6ACF68ABE4B5}" dt="2022-12-01T20:40:08.986" v="89"/>
          <ac:spMkLst>
            <pc:docMk/>
            <pc:sldMk cId="3706469346" sldId="838841218"/>
            <ac:spMk id="5" creationId="{B2130BE0-9661-B19A-D06E-7A9E9EA2906E}"/>
          </ac:spMkLst>
        </pc:spChg>
        <pc:spChg chg="add mod">
          <ac:chgData name="Points, Kari" userId="S::kari.points@va.gov::d3d08481-d9e7-4f0b-8844-65fed6518596" providerId="AD" clId="Web-{5D134B5C-ACD5-DAB2-F0B5-6ACF68ABE4B5}" dt="2022-12-01T20:43:19.956" v="100" actId="14100"/>
          <ac:spMkLst>
            <pc:docMk/>
            <pc:sldMk cId="3706469346" sldId="838841218"/>
            <ac:spMk id="7" creationId="{F38BC619-6082-96F2-D86E-548E7925E992}"/>
          </ac:spMkLst>
        </pc:spChg>
        <pc:spChg chg="add del mod">
          <ac:chgData name="Points, Kari" userId="S::kari.points@va.gov::d3d08481-d9e7-4f0b-8844-65fed6518596" providerId="AD" clId="Web-{5D134B5C-ACD5-DAB2-F0B5-6ACF68ABE4B5}" dt="2022-12-01T20:51:29.773" v="343"/>
          <ac:spMkLst>
            <pc:docMk/>
            <pc:sldMk cId="3706469346" sldId="838841218"/>
            <ac:spMk id="9" creationId="{8BF5E3C0-B2D6-6893-486A-5FCAD7FE3D5E}"/>
          </ac:spMkLst>
        </pc:spChg>
        <pc:spChg chg="add del mod">
          <ac:chgData name="Points, Kari" userId="S::kari.points@va.gov::d3d08481-d9e7-4f0b-8844-65fed6518596" providerId="AD" clId="Web-{5D134B5C-ACD5-DAB2-F0B5-6ACF68ABE4B5}" dt="2022-12-01T20:51:59.679" v="347"/>
          <ac:spMkLst>
            <pc:docMk/>
            <pc:sldMk cId="3706469346" sldId="838841218"/>
            <ac:spMk id="12" creationId="{0E67CA55-899D-FD97-7D7C-48911139F7D9}"/>
          </ac:spMkLst>
        </pc:spChg>
        <pc:picChg chg="add del mod ord">
          <ac:chgData name="Points, Kari" userId="S::kari.points@va.gov::d3d08481-d9e7-4f0b-8844-65fed6518596" providerId="AD" clId="Web-{5D134B5C-ACD5-DAB2-F0B5-6ACF68ABE4B5}" dt="2022-12-01T20:51:04.413" v="342"/>
          <ac:picMkLst>
            <pc:docMk/>
            <pc:sldMk cId="3706469346" sldId="838841218"/>
            <ac:picMk id="6" creationId="{C223DB03-A8A6-3398-555E-BA595BD725A7}"/>
          </ac:picMkLst>
        </pc:picChg>
        <pc:picChg chg="add del mod ord">
          <ac:chgData name="Points, Kari" userId="S::kari.points@va.gov::d3d08481-d9e7-4f0b-8844-65fed6518596" providerId="AD" clId="Web-{5D134B5C-ACD5-DAB2-F0B5-6ACF68ABE4B5}" dt="2022-12-01T20:51:35.991" v="346"/>
          <ac:picMkLst>
            <pc:docMk/>
            <pc:sldMk cId="3706469346" sldId="838841218"/>
            <ac:picMk id="10" creationId="{F6271B6D-A720-5DBB-D5C6-DC5B7585C199}"/>
          </ac:picMkLst>
        </pc:picChg>
        <pc:picChg chg="add mod ord">
          <ac:chgData name="Points, Kari" userId="S::kari.points@va.gov::d3d08481-d9e7-4f0b-8844-65fed6518596" providerId="AD" clId="Web-{5D134B5C-ACD5-DAB2-F0B5-6ACF68ABE4B5}" dt="2022-12-01T20:52:02.523" v="348" actId="1076"/>
          <ac:picMkLst>
            <pc:docMk/>
            <pc:sldMk cId="3706469346" sldId="838841218"/>
            <ac:picMk id="13" creationId="{E200EA0C-DCDB-70BA-251D-9D3B633E3813}"/>
          </ac:picMkLst>
        </pc:picChg>
      </pc:sldChg>
      <pc:sldChg chg="addSp delSp modSp new">
        <pc:chgData name="Points, Kari" userId="S::kari.points@va.gov::d3d08481-d9e7-4f0b-8844-65fed6518596" providerId="AD" clId="Web-{5D134B5C-ACD5-DAB2-F0B5-6ACF68ABE4B5}" dt="2022-12-01T20:52:30.554" v="351" actId="1076"/>
        <pc:sldMkLst>
          <pc:docMk/>
          <pc:sldMk cId="970569617" sldId="838841219"/>
        </pc:sldMkLst>
        <pc:spChg chg="mod">
          <ac:chgData name="Points, Kari" userId="S::kari.points@va.gov::d3d08481-d9e7-4f0b-8844-65fed6518596" providerId="AD" clId="Web-{5D134B5C-ACD5-DAB2-F0B5-6ACF68ABE4B5}" dt="2022-12-01T20:44:03.425" v="103" actId="20577"/>
          <ac:spMkLst>
            <pc:docMk/>
            <pc:sldMk cId="970569617" sldId="838841219"/>
            <ac:spMk id="2" creationId="{1E7590C5-9720-12E0-DC6D-0D72CF047D5E}"/>
          </ac:spMkLst>
        </pc:spChg>
        <pc:spChg chg="del">
          <ac:chgData name="Points, Kari" userId="S::kari.points@va.gov::d3d08481-d9e7-4f0b-8844-65fed6518596" providerId="AD" clId="Web-{5D134B5C-ACD5-DAB2-F0B5-6ACF68ABE4B5}" dt="2022-12-01T20:44:21.957" v="104"/>
          <ac:spMkLst>
            <pc:docMk/>
            <pc:sldMk cId="970569617" sldId="838841219"/>
            <ac:spMk id="3" creationId="{7301E196-61F5-33F5-0E22-0E235CCCBE9B}"/>
          </ac:spMkLst>
        </pc:spChg>
        <pc:spChg chg="add del mod">
          <ac:chgData name="Points, Kari" userId="S::kari.points@va.gov::d3d08481-d9e7-4f0b-8844-65fed6518596" providerId="AD" clId="Web-{5D134B5C-ACD5-DAB2-F0B5-6ACF68ABE4B5}" dt="2022-12-01T20:45:24.192" v="131" actId="1076"/>
          <ac:spMkLst>
            <pc:docMk/>
            <pc:sldMk cId="970569617" sldId="838841219"/>
            <ac:spMk id="7" creationId="{635A4168-240A-7F2C-C4C9-66A428FA125F}"/>
          </ac:spMkLst>
        </pc:spChg>
        <pc:spChg chg="add del mod">
          <ac:chgData name="Points, Kari" userId="S::kari.points@va.gov::d3d08481-d9e7-4f0b-8844-65fed6518596" providerId="AD" clId="Web-{5D134B5C-ACD5-DAB2-F0B5-6ACF68ABE4B5}" dt="2022-12-01T20:52:26.367" v="350"/>
          <ac:spMkLst>
            <pc:docMk/>
            <pc:sldMk cId="970569617" sldId="838841219"/>
            <ac:spMk id="9" creationId="{84E7DA94-CAAA-77BE-DF72-EC6C9546C865}"/>
          </ac:spMkLst>
        </pc:spChg>
        <pc:picChg chg="add del mod ord">
          <ac:chgData name="Points, Kari" userId="S::kari.points@va.gov::d3d08481-d9e7-4f0b-8844-65fed6518596" providerId="AD" clId="Web-{5D134B5C-ACD5-DAB2-F0B5-6ACF68ABE4B5}" dt="2022-12-01T20:52:09.820" v="349"/>
          <ac:picMkLst>
            <pc:docMk/>
            <pc:sldMk cId="970569617" sldId="838841219"/>
            <ac:picMk id="6" creationId="{106E4EE8-A8AC-D244-9E80-E9770F603F0F}"/>
          </ac:picMkLst>
        </pc:picChg>
        <pc:picChg chg="add mod ord">
          <ac:chgData name="Points, Kari" userId="S::kari.points@va.gov::d3d08481-d9e7-4f0b-8844-65fed6518596" providerId="AD" clId="Web-{5D134B5C-ACD5-DAB2-F0B5-6ACF68ABE4B5}" dt="2022-12-01T20:52:30.554" v="351" actId="1076"/>
          <ac:picMkLst>
            <pc:docMk/>
            <pc:sldMk cId="970569617" sldId="838841219"/>
            <ac:picMk id="10" creationId="{4BE78E9C-1F7F-F2F4-748C-C4F81999F187}"/>
          </ac:picMkLst>
        </pc:picChg>
      </pc:sldChg>
      <pc:sldChg chg="addSp delSp modSp new">
        <pc:chgData name="Points, Kari" userId="S::kari.points@va.gov::d3d08481-d9e7-4f0b-8844-65fed6518596" providerId="AD" clId="Web-{5D134B5C-ACD5-DAB2-F0B5-6ACF68ABE4B5}" dt="2022-12-01T20:56:58.322" v="695"/>
        <pc:sldMkLst>
          <pc:docMk/>
          <pc:sldMk cId="2438305302" sldId="838841220"/>
        </pc:sldMkLst>
        <pc:spChg chg="mod">
          <ac:chgData name="Points, Kari" userId="S::kari.points@va.gov::d3d08481-d9e7-4f0b-8844-65fed6518596" providerId="AD" clId="Web-{5D134B5C-ACD5-DAB2-F0B5-6ACF68ABE4B5}" dt="2022-12-01T20:47:09.333" v="137" actId="20577"/>
          <ac:spMkLst>
            <pc:docMk/>
            <pc:sldMk cId="2438305302" sldId="838841220"/>
            <ac:spMk id="2" creationId="{20DE107C-22BA-DAB0-0834-B0BE66FF1729}"/>
          </ac:spMkLst>
        </pc:spChg>
        <pc:spChg chg="del">
          <ac:chgData name="Points, Kari" userId="S::kari.points@va.gov::d3d08481-d9e7-4f0b-8844-65fed6518596" providerId="AD" clId="Web-{5D134B5C-ACD5-DAB2-F0B5-6ACF68ABE4B5}" dt="2022-12-01T20:46:56.411" v="135"/>
          <ac:spMkLst>
            <pc:docMk/>
            <pc:sldMk cId="2438305302" sldId="838841220"/>
            <ac:spMk id="3" creationId="{4616791B-180B-01DA-C262-7CB417686CFD}"/>
          </ac:spMkLst>
        </pc:spChg>
        <pc:spChg chg="add mod">
          <ac:chgData name="Points, Kari" userId="S::kari.points@va.gov::d3d08481-d9e7-4f0b-8844-65fed6518596" providerId="AD" clId="Web-{5D134B5C-ACD5-DAB2-F0B5-6ACF68ABE4B5}" dt="2022-12-01T20:55:35.915" v="604" actId="14100"/>
          <ac:spMkLst>
            <pc:docMk/>
            <pc:sldMk cId="2438305302" sldId="838841220"/>
            <ac:spMk id="7" creationId="{D66E3AA3-0289-2F01-56A0-840D182742E1}"/>
          </ac:spMkLst>
        </pc:spChg>
        <pc:spChg chg="add del mod">
          <ac:chgData name="Points, Kari" userId="S::kari.points@va.gov::d3d08481-d9e7-4f0b-8844-65fed6518596" providerId="AD" clId="Web-{5D134B5C-ACD5-DAB2-F0B5-6ACF68ABE4B5}" dt="2022-12-01T20:53:03.617" v="353"/>
          <ac:spMkLst>
            <pc:docMk/>
            <pc:sldMk cId="2438305302" sldId="838841220"/>
            <ac:spMk id="9" creationId="{C334DE97-2F30-527D-D449-45A351462FF9}"/>
          </ac:spMkLst>
        </pc:spChg>
        <pc:spChg chg="add del mod">
          <ac:chgData name="Points, Kari" userId="S::kari.points@va.gov::d3d08481-d9e7-4f0b-8844-65fed6518596" providerId="AD" clId="Web-{5D134B5C-ACD5-DAB2-F0B5-6ACF68ABE4B5}" dt="2022-12-01T20:56:58.322" v="695"/>
          <ac:spMkLst>
            <pc:docMk/>
            <pc:sldMk cId="2438305302" sldId="838841220"/>
            <ac:spMk id="11" creationId="{49166F04-0057-465C-1471-469B359118DE}"/>
          </ac:spMkLst>
        </pc:spChg>
        <pc:picChg chg="add del mod ord">
          <ac:chgData name="Points, Kari" userId="S::kari.points@va.gov::d3d08481-d9e7-4f0b-8844-65fed6518596" providerId="AD" clId="Web-{5D134B5C-ACD5-DAB2-F0B5-6ACF68ABE4B5}" dt="2022-12-01T20:52:34.804" v="352"/>
          <ac:picMkLst>
            <pc:docMk/>
            <pc:sldMk cId="2438305302" sldId="838841220"/>
            <ac:picMk id="6" creationId="{65CC82A6-419A-D606-6519-225E021A3D4A}"/>
          </ac:picMkLst>
        </pc:picChg>
        <pc:picChg chg="add mod ord">
          <ac:chgData name="Points, Kari" userId="S::kari.points@va.gov::d3d08481-d9e7-4f0b-8844-65fed6518596" providerId="AD" clId="Web-{5D134B5C-ACD5-DAB2-F0B5-6ACF68ABE4B5}" dt="2022-12-01T20:55:44.634" v="605" actId="1076"/>
          <ac:picMkLst>
            <pc:docMk/>
            <pc:sldMk cId="2438305302" sldId="838841220"/>
            <ac:picMk id="10" creationId="{C873E32D-19BA-318C-D687-42D010D02D30}"/>
          </ac:picMkLst>
        </pc:picChg>
      </pc:sldChg>
      <pc:sldChg chg="addSp modSp new">
        <pc:chgData name="Points, Kari" userId="S::kari.points@va.gov::d3d08481-d9e7-4f0b-8844-65fed6518596" providerId="AD" clId="Web-{5D134B5C-ACD5-DAB2-F0B5-6ACF68ABE4B5}" dt="2022-12-01T20:58:31.042" v="741" actId="20577"/>
        <pc:sldMkLst>
          <pc:docMk/>
          <pc:sldMk cId="4053134620" sldId="838841221"/>
        </pc:sldMkLst>
        <pc:spChg chg="mod">
          <ac:chgData name="Points, Kari" userId="S::kari.points@va.gov::d3d08481-d9e7-4f0b-8844-65fed6518596" providerId="AD" clId="Web-{5D134B5C-ACD5-DAB2-F0B5-6ACF68ABE4B5}" dt="2022-12-01T20:56:47.681" v="692" actId="20577"/>
          <ac:spMkLst>
            <pc:docMk/>
            <pc:sldMk cId="4053134620" sldId="838841221"/>
            <ac:spMk id="2" creationId="{B9EC5419-FE86-FC57-3724-724E1D2D61E0}"/>
          </ac:spMkLst>
        </pc:spChg>
        <pc:spChg chg="add mod">
          <ac:chgData name="Points, Kari" userId="S::kari.points@va.gov::d3d08481-d9e7-4f0b-8844-65fed6518596" providerId="AD" clId="Web-{5D134B5C-ACD5-DAB2-F0B5-6ACF68ABE4B5}" dt="2022-12-01T20:58:31.042" v="741" actId="20577"/>
          <ac:spMkLst>
            <pc:docMk/>
            <pc:sldMk cId="4053134620" sldId="838841221"/>
            <ac:spMk id="8" creationId="{1C35EF09-7FC8-ACD0-6480-BCE4FA58D6B8}"/>
          </ac:spMkLst>
        </pc:spChg>
        <pc:picChg chg="add mod">
          <ac:chgData name="Points, Kari" userId="S::kari.points@va.gov::d3d08481-d9e7-4f0b-8844-65fed6518596" providerId="AD" clId="Web-{5D134B5C-ACD5-DAB2-F0B5-6ACF68ABE4B5}" dt="2022-12-01T20:57:06.322" v="697" actId="1076"/>
          <ac:picMkLst>
            <pc:docMk/>
            <pc:sldMk cId="4053134620" sldId="838841221"/>
            <ac:picMk id="7" creationId="{44B317A0-572D-99A3-AA51-DFC12D022539}"/>
          </ac:picMkLst>
        </pc:picChg>
        <pc:cxnChg chg="add mod">
          <ac:chgData name="Points, Kari" userId="S::kari.points@va.gov::d3d08481-d9e7-4f0b-8844-65fed6518596" providerId="AD" clId="Web-{5D134B5C-ACD5-DAB2-F0B5-6ACF68ABE4B5}" dt="2022-12-01T20:58:16.370" v="706"/>
          <ac:cxnSpMkLst>
            <pc:docMk/>
            <pc:sldMk cId="4053134620" sldId="838841221"/>
            <ac:cxnSpMk id="9" creationId="{88455BF6-894F-A233-9735-B26AF1B2A82A}"/>
          </ac:cxnSpMkLst>
        </pc:cxnChg>
      </pc:sldChg>
      <pc:sldChg chg="addSp modSp new">
        <pc:chgData name="Points, Kari" userId="S::kari.points@va.gov::d3d08481-d9e7-4f0b-8844-65fed6518596" providerId="AD" clId="Web-{5D134B5C-ACD5-DAB2-F0B5-6ACF68ABE4B5}" dt="2022-12-01T21:07:14.014" v="773" actId="14100"/>
        <pc:sldMkLst>
          <pc:docMk/>
          <pc:sldMk cId="2704330361" sldId="838841222"/>
        </pc:sldMkLst>
        <pc:spChg chg="mod">
          <ac:chgData name="Points, Kari" userId="S::kari.points@va.gov::d3d08481-d9e7-4f0b-8844-65fed6518596" providerId="AD" clId="Web-{5D134B5C-ACD5-DAB2-F0B5-6ACF68ABE4B5}" dt="2022-12-01T21:03:08.638" v="760" actId="20577"/>
          <ac:spMkLst>
            <pc:docMk/>
            <pc:sldMk cId="2704330361" sldId="838841222"/>
            <ac:spMk id="2" creationId="{B8F3A581-3402-0570-C0AB-DE40CDAC7BA5}"/>
          </ac:spMkLst>
        </pc:spChg>
        <pc:spChg chg="mod">
          <ac:chgData name="Points, Kari" userId="S::kari.points@va.gov::d3d08481-d9e7-4f0b-8844-65fed6518596" providerId="AD" clId="Web-{5D134B5C-ACD5-DAB2-F0B5-6ACF68ABE4B5}" dt="2022-12-01T21:06:42.608" v="764" actId="1076"/>
          <ac:spMkLst>
            <pc:docMk/>
            <pc:sldMk cId="2704330361" sldId="838841222"/>
            <ac:spMk id="3" creationId="{7DCAC89B-F9FA-6965-F1FB-3CFCC7DB7C0C}"/>
          </ac:spMkLst>
        </pc:spChg>
        <pc:picChg chg="add mod">
          <ac:chgData name="Points, Kari" userId="S::kari.points@va.gov::d3d08481-d9e7-4f0b-8844-65fed6518596" providerId="AD" clId="Web-{5D134B5C-ACD5-DAB2-F0B5-6ACF68ABE4B5}" dt="2022-12-01T21:07:14.014" v="773" actId="14100"/>
          <ac:picMkLst>
            <pc:docMk/>
            <pc:sldMk cId="2704330361" sldId="838841222"/>
            <ac:picMk id="6" creationId="{89F3DD8F-18FB-8F7E-8C00-BB38C38FF763}"/>
          </ac:picMkLst>
        </pc:picChg>
      </pc:sldChg>
      <pc:sldChg chg="modSp new">
        <pc:chgData name="Points, Kari" userId="S::kari.points@va.gov::d3d08481-d9e7-4f0b-8844-65fed6518596" providerId="AD" clId="Web-{5D134B5C-ACD5-DAB2-F0B5-6ACF68ABE4B5}" dt="2022-12-01T21:54:47.318" v="2050" actId="1076"/>
        <pc:sldMkLst>
          <pc:docMk/>
          <pc:sldMk cId="879697680" sldId="838841223"/>
        </pc:sldMkLst>
        <pc:spChg chg="mod">
          <ac:chgData name="Points, Kari" userId="S::kari.points@va.gov::d3d08481-d9e7-4f0b-8844-65fed6518596" providerId="AD" clId="Web-{5D134B5C-ACD5-DAB2-F0B5-6ACF68ABE4B5}" dt="2022-12-01T21:46:57.612" v="1473" actId="20577"/>
          <ac:spMkLst>
            <pc:docMk/>
            <pc:sldMk cId="879697680" sldId="838841223"/>
            <ac:spMk id="2" creationId="{C4B9F128-812F-17DB-A57E-3A35018347E9}"/>
          </ac:spMkLst>
        </pc:spChg>
        <pc:spChg chg="mod">
          <ac:chgData name="Points, Kari" userId="S::kari.points@va.gov::d3d08481-d9e7-4f0b-8844-65fed6518596" providerId="AD" clId="Web-{5D134B5C-ACD5-DAB2-F0B5-6ACF68ABE4B5}" dt="2022-12-01T21:54:47.318" v="2050" actId="1076"/>
          <ac:spMkLst>
            <pc:docMk/>
            <pc:sldMk cId="879697680" sldId="838841223"/>
            <ac:spMk id="3" creationId="{D7D0F4A9-C8A1-38FB-DAE0-8CCEE9554A48}"/>
          </ac:spMkLst>
        </pc:spChg>
      </pc:sldChg>
      <pc:sldChg chg="modSp new add del ord">
        <pc:chgData name="Points, Kari" userId="S::kari.points@va.gov::d3d08481-d9e7-4f0b-8844-65fed6518596" providerId="AD" clId="Web-{5D134B5C-ACD5-DAB2-F0B5-6ACF68ABE4B5}" dt="2022-12-01T23:20:27.469" v="5935" actId="20577"/>
        <pc:sldMkLst>
          <pc:docMk/>
          <pc:sldMk cId="2863733230" sldId="838841224"/>
        </pc:sldMkLst>
        <pc:spChg chg="mod">
          <ac:chgData name="Points, Kari" userId="S::kari.points@va.gov::d3d08481-d9e7-4f0b-8844-65fed6518596" providerId="AD" clId="Web-{5D134B5C-ACD5-DAB2-F0B5-6ACF68ABE4B5}" dt="2022-12-01T22:02:58.744" v="2590" actId="20577"/>
          <ac:spMkLst>
            <pc:docMk/>
            <pc:sldMk cId="2863733230" sldId="838841224"/>
            <ac:spMk id="2" creationId="{BD092D11-1727-9C02-7462-704628188D34}"/>
          </ac:spMkLst>
        </pc:spChg>
        <pc:spChg chg="mod">
          <ac:chgData name="Points, Kari" userId="S::kari.points@va.gov::d3d08481-d9e7-4f0b-8844-65fed6518596" providerId="AD" clId="Web-{5D134B5C-ACD5-DAB2-F0B5-6ACF68ABE4B5}" dt="2022-12-01T23:20:27.469" v="5935" actId="20577"/>
          <ac:spMkLst>
            <pc:docMk/>
            <pc:sldMk cId="2863733230" sldId="838841224"/>
            <ac:spMk id="3" creationId="{D25E0218-A8A8-E3AF-BD3D-75406A013B9F}"/>
          </ac:spMkLst>
        </pc:spChg>
      </pc:sldChg>
      <pc:sldChg chg="modSp new">
        <pc:chgData name="Points, Kari" userId="S::kari.points@va.gov::d3d08481-d9e7-4f0b-8844-65fed6518596" providerId="AD" clId="Web-{5D134B5C-ACD5-DAB2-F0B5-6ACF68ABE4B5}" dt="2022-12-01T22:21:20.112" v="3464" actId="20577"/>
        <pc:sldMkLst>
          <pc:docMk/>
          <pc:sldMk cId="2648536608" sldId="838841225"/>
        </pc:sldMkLst>
        <pc:spChg chg="mod">
          <ac:chgData name="Points, Kari" userId="S::kari.points@va.gov::d3d08481-d9e7-4f0b-8844-65fed6518596" providerId="AD" clId="Web-{5D134B5C-ACD5-DAB2-F0B5-6ACF68ABE4B5}" dt="2022-12-01T22:11:12.436" v="3114" actId="20577"/>
          <ac:spMkLst>
            <pc:docMk/>
            <pc:sldMk cId="2648536608" sldId="838841225"/>
            <ac:spMk id="2" creationId="{64D4AB8B-1CFF-4C01-5692-24AD47A56AEE}"/>
          </ac:spMkLst>
        </pc:spChg>
        <pc:spChg chg="mod">
          <ac:chgData name="Points, Kari" userId="S::kari.points@va.gov::d3d08481-d9e7-4f0b-8844-65fed6518596" providerId="AD" clId="Web-{5D134B5C-ACD5-DAB2-F0B5-6ACF68ABE4B5}" dt="2022-12-01T22:21:20.112" v="3464" actId="20577"/>
          <ac:spMkLst>
            <pc:docMk/>
            <pc:sldMk cId="2648536608" sldId="838841225"/>
            <ac:spMk id="3" creationId="{A05FC0CC-49C2-D9D9-A314-EDC72B19651B}"/>
          </ac:spMkLst>
        </pc:spChg>
      </pc:sldChg>
      <pc:sldChg chg="addSp delSp modSp new">
        <pc:chgData name="Points, Kari" userId="S::kari.points@va.gov::d3d08481-d9e7-4f0b-8844-65fed6518596" providerId="AD" clId="Web-{5D134B5C-ACD5-DAB2-F0B5-6ACF68ABE4B5}" dt="2022-12-01T22:27:48.725" v="3856" actId="20577"/>
        <pc:sldMkLst>
          <pc:docMk/>
          <pc:sldMk cId="4134942931" sldId="838841226"/>
        </pc:sldMkLst>
        <pc:spChg chg="mod">
          <ac:chgData name="Points, Kari" userId="S::kari.points@va.gov::d3d08481-d9e7-4f0b-8844-65fed6518596" providerId="AD" clId="Web-{5D134B5C-ACD5-DAB2-F0B5-6ACF68ABE4B5}" dt="2022-12-01T22:13:17.562" v="3450" actId="20577"/>
          <ac:spMkLst>
            <pc:docMk/>
            <pc:sldMk cId="4134942931" sldId="838841226"/>
            <ac:spMk id="2" creationId="{B8BFCCC7-671C-0BF8-859D-46E63FBCB35C}"/>
          </ac:spMkLst>
        </pc:spChg>
        <pc:spChg chg="mod">
          <ac:chgData name="Points, Kari" userId="S::kari.points@va.gov::d3d08481-d9e7-4f0b-8844-65fed6518596" providerId="AD" clId="Web-{5D134B5C-ACD5-DAB2-F0B5-6ACF68ABE4B5}" dt="2022-12-01T22:27:48.725" v="3856" actId="20577"/>
          <ac:spMkLst>
            <pc:docMk/>
            <pc:sldMk cId="4134942931" sldId="838841226"/>
            <ac:spMk id="3" creationId="{F37FC186-463D-EF71-EB23-C213838204CD}"/>
          </ac:spMkLst>
        </pc:spChg>
        <pc:picChg chg="add del mod">
          <ac:chgData name="Points, Kari" userId="S::kari.points@va.gov::d3d08481-d9e7-4f0b-8844-65fed6518596" providerId="AD" clId="Web-{5D134B5C-ACD5-DAB2-F0B5-6ACF68ABE4B5}" dt="2022-12-01T22:26:35.631" v="3822"/>
          <ac:picMkLst>
            <pc:docMk/>
            <pc:sldMk cId="4134942931" sldId="838841226"/>
            <ac:picMk id="6" creationId="{E5F8EC3F-FDFE-BC2E-E638-443C386B74D4}"/>
          </ac:picMkLst>
        </pc:picChg>
        <pc:picChg chg="add mod">
          <ac:chgData name="Points, Kari" userId="S::kari.points@va.gov::d3d08481-d9e7-4f0b-8844-65fed6518596" providerId="AD" clId="Web-{5D134B5C-ACD5-DAB2-F0B5-6ACF68ABE4B5}" dt="2022-12-01T22:26:55.334" v="3829" actId="14100"/>
          <ac:picMkLst>
            <pc:docMk/>
            <pc:sldMk cId="4134942931" sldId="838841226"/>
            <ac:picMk id="7" creationId="{CC961803-3670-EDA7-706D-04D8106D0183}"/>
          </ac:picMkLst>
        </pc:picChg>
      </pc:sldChg>
      <pc:sldChg chg="new del">
        <pc:chgData name="Points, Kari" userId="S::kari.points@va.gov::d3d08481-d9e7-4f0b-8844-65fed6518596" providerId="AD" clId="Web-{5D134B5C-ACD5-DAB2-F0B5-6ACF68ABE4B5}" dt="2022-12-01T22:25:11.755" v="3786"/>
        <pc:sldMkLst>
          <pc:docMk/>
          <pc:sldMk cId="192408625" sldId="838841227"/>
        </pc:sldMkLst>
      </pc:sldChg>
      <pc:sldChg chg="addSp delSp modSp new del">
        <pc:chgData name="Points, Kari" userId="S::kari.points@va.gov::d3d08481-d9e7-4f0b-8844-65fed6518596" providerId="AD" clId="Web-{5D134B5C-ACD5-DAB2-F0B5-6ACF68ABE4B5}" dt="2022-12-01T23:22:20.439" v="5941"/>
        <pc:sldMkLst>
          <pc:docMk/>
          <pc:sldMk cId="556400153" sldId="838841228"/>
        </pc:sldMkLst>
        <pc:spChg chg="mod">
          <ac:chgData name="Points, Kari" userId="S::kari.points@va.gov::d3d08481-d9e7-4f0b-8844-65fed6518596" providerId="AD" clId="Web-{5D134B5C-ACD5-DAB2-F0B5-6ACF68ABE4B5}" dt="2022-12-01T22:27:53.256" v="3857" actId="20577"/>
          <ac:spMkLst>
            <pc:docMk/>
            <pc:sldMk cId="556400153" sldId="838841228"/>
            <ac:spMk id="2" creationId="{5CBEA6D2-E2D1-92A5-9AF6-A738A1C2A212}"/>
          </ac:spMkLst>
        </pc:spChg>
        <pc:spChg chg="mod">
          <ac:chgData name="Points, Kari" userId="S::kari.points@va.gov::d3d08481-d9e7-4f0b-8844-65fed6518596" providerId="AD" clId="Web-{5D134B5C-ACD5-DAB2-F0B5-6ACF68ABE4B5}" dt="2022-12-01T22:32:35.071" v="4089" actId="20577"/>
          <ac:spMkLst>
            <pc:docMk/>
            <pc:sldMk cId="556400153" sldId="838841228"/>
            <ac:spMk id="3" creationId="{785E9A45-0FBE-6D4E-A813-D8307C9D64F0}"/>
          </ac:spMkLst>
        </pc:spChg>
        <pc:spChg chg="add del mod">
          <ac:chgData name="Points, Kari" userId="S::kari.points@va.gov::d3d08481-d9e7-4f0b-8844-65fed6518596" providerId="AD" clId="Web-{5D134B5C-ACD5-DAB2-F0B5-6ACF68ABE4B5}" dt="2022-12-01T23:22:10.173" v="5940"/>
          <ac:spMkLst>
            <pc:docMk/>
            <pc:sldMk cId="556400153" sldId="838841228"/>
            <ac:spMk id="8" creationId="{6E63056F-4A8C-9A02-FCF4-2828A8656F46}"/>
          </ac:spMkLst>
        </pc:spChg>
        <pc:spChg chg="add del mod">
          <ac:chgData name="Points, Kari" userId="S::kari.points@va.gov::d3d08481-d9e7-4f0b-8844-65fed6518596" providerId="AD" clId="Web-{5D134B5C-ACD5-DAB2-F0B5-6ACF68ABE4B5}" dt="2022-12-01T22:57:42.864" v="5493"/>
          <ac:spMkLst>
            <pc:docMk/>
            <pc:sldMk cId="556400153" sldId="838841228"/>
            <ac:spMk id="9" creationId="{49E52865-06B5-5001-E880-213F59617F71}"/>
          </ac:spMkLst>
        </pc:spChg>
        <pc:spChg chg="add del mod">
          <ac:chgData name="Points, Kari" userId="S::kari.points@va.gov::d3d08481-d9e7-4f0b-8844-65fed6518596" providerId="AD" clId="Web-{5D134B5C-ACD5-DAB2-F0B5-6ACF68ABE4B5}" dt="2022-12-01T23:10:19.183" v="5631"/>
          <ac:spMkLst>
            <pc:docMk/>
            <pc:sldMk cId="556400153" sldId="838841228"/>
            <ac:spMk id="11" creationId="{BC4396A9-5301-8174-666B-841589542BF1}"/>
          </ac:spMkLst>
        </pc:spChg>
        <pc:spChg chg="add mod">
          <ac:chgData name="Points, Kari" userId="S::kari.points@va.gov::d3d08481-d9e7-4f0b-8844-65fed6518596" providerId="AD" clId="Web-{5D134B5C-ACD5-DAB2-F0B5-6ACF68ABE4B5}" dt="2022-12-01T23:13:02.325" v="5646" actId="1076"/>
          <ac:spMkLst>
            <pc:docMk/>
            <pc:sldMk cId="556400153" sldId="838841228"/>
            <ac:spMk id="14" creationId="{FCB26B1E-801F-13A6-A511-54EF06859AC0}"/>
          </ac:spMkLst>
        </pc:spChg>
        <pc:spChg chg="add mod">
          <ac:chgData name="Points, Kari" userId="S::kari.points@va.gov::d3d08481-d9e7-4f0b-8844-65fed6518596" providerId="AD" clId="Web-{5D134B5C-ACD5-DAB2-F0B5-6ACF68ABE4B5}" dt="2022-12-01T23:22:09.173" v="5939" actId="1076"/>
          <ac:spMkLst>
            <pc:docMk/>
            <pc:sldMk cId="556400153" sldId="838841228"/>
            <ac:spMk id="15" creationId="{8FBDEC77-F9AC-B405-37FB-6ACB0DC180BA}"/>
          </ac:spMkLst>
        </pc:spChg>
        <pc:picChg chg="add del mod">
          <ac:chgData name="Points, Kari" userId="S::kari.points@va.gov::d3d08481-d9e7-4f0b-8844-65fed6518596" providerId="AD" clId="Web-{5D134B5C-ACD5-DAB2-F0B5-6ACF68ABE4B5}" dt="2022-12-01T22:57:14.771" v="5484"/>
          <ac:picMkLst>
            <pc:docMk/>
            <pc:sldMk cId="556400153" sldId="838841228"/>
            <ac:picMk id="6" creationId="{733D22EF-C8AE-F1C1-EA8F-F49188034E73}"/>
          </ac:picMkLst>
        </pc:picChg>
        <pc:picChg chg="add del mod">
          <ac:chgData name="Points, Kari" userId="S::kari.points@va.gov::d3d08481-d9e7-4f0b-8844-65fed6518596" providerId="AD" clId="Web-{5D134B5C-ACD5-DAB2-F0B5-6ACF68ABE4B5}" dt="2022-12-01T23:11:30.324" v="5638"/>
          <ac:picMkLst>
            <pc:docMk/>
            <pc:sldMk cId="556400153" sldId="838841228"/>
            <ac:picMk id="7" creationId="{0F95FCAB-3632-BB5C-50D1-14800609A468}"/>
          </ac:picMkLst>
        </pc:picChg>
        <pc:picChg chg="add del mod">
          <ac:chgData name="Points, Kari" userId="S::kari.points@va.gov::d3d08481-d9e7-4f0b-8844-65fed6518596" providerId="AD" clId="Web-{5D134B5C-ACD5-DAB2-F0B5-6ACF68ABE4B5}" dt="2022-12-01T23:10:17.355" v="5630"/>
          <ac:picMkLst>
            <pc:docMk/>
            <pc:sldMk cId="556400153" sldId="838841228"/>
            <ac:picMk id="10" creationId="{4085B82F-5C0B-68B7-835C-D6998F504F6E}"/>
          </ac:picMkLst>
        </pc:picChg>
        <pc:picChg chg="add mod">
          <ac:chgData name="Points, Kari" userId="S::kari.points@va.gov::d3d08481-d9e7-4f0b-8844-65fed6518596" providerId="AD" clId="Web-{5D134B5C-ACD5-DAB2-F0B5-6ACF68ABE4B5}" dt="2022-12-01T23:11:26.981" v="5637" actId="14100"/>
          <ac:picMkLst>
            <pc:docMk/>
            <pc:sldMk cId="556400153" sldId="838841228"/>
            <ac:picMk id="12" creationId="{2CB9B4B1-F861-BB87-4D99-70CD54613E29}"/>
          </ac:picMkLst>
        </pc:picChg>
        <pc:picChg chg="add mod">
          <ac:chgData name="Points, Kari" userId="S::kari.points@va.gov::d3d08481-d9e7-4f0b-8844-65fed6518596" providerId="AD" clId="Web-{5D134B5C-ACD5-DAB2-F0B5-6ACF68ABE4B5}" dt="2022-12-01T23:12:43.997" v="5642" actId="14100"/>
          <ac:picMkLst>
            <pc:docMk/>
            <pc:sldMk cId="556400153" sldId="838841228"/>
            <ac:picMk id="13" creationId="{347D9398-AEC1-B3CD-DDAA-989F42412574}"/>
          </ac:picMkLst>
        </pc:picChg>
      </pc:sldChg>
      <pc:sldChg chg="modSp new">
        <pc:chgData name="Points, Kari" userId="S::kari.points@va.gov::d3d08481-d9e7-4f0b-8844-65fed6518596" providerId="AD" clId="Web-{5D134B5C-ACD5-DAB2-F0B5-6ACF68ABE4B5}" dt="2022-12-01T22:36:28.995" v="4348" actId="20577"/>
        <pc:sldMkLst>
          <pc:docMk/>
          <pc:sldMk cId="2911107025" sldId="838841229"/>
        </pc:sldMkLst>
        <pc:spChg chg="mod">
          <ac:chgData name="Points, Kari" userId="S::kari.points@va.gov::d3d08481-d9e7-4f0b-8844-65fed6518596" providerId="AD" clId="Web-{5D134B5C-ACD5-DAB2-F0B5-6ACF68ABE4B5}" dt="2022-12-01T22:32:59.493" v="4098" actId="20577"/>
          <ac:spMkLst>
            <pc:docMk/>
            <pc:sldMk cId="2911107025" sldId="838841229"/>
            <ac:spMk id="2" creationId="{3946F5F3-E7D0-71F7-347F-B07F2B08C52F}"/>
          </ac:spMkLst>
        </pc:spChg>
        <pc:spChg chg="mod">
          <ac:chgData name="Points, Kari" userId="S::kari.points@va.gov::d3d08481-d9e7-4f0b-8844-65fed6518596" providerId="AD" clId="Web-{5D134B5C-ACD5-DAB2-F0B5-6ACF68ABE4B5}" dt="2022-12-01T22:36:28.995" v="4348" actId="20577"/>
          <ac:spMkLst>
            <pc:docMk/>
            <pc:sldMk cId="2911107025" sldId="838841229"/>
            <ac:spMk id="3" creationId="{C83E7432-6B10-AE44-54B1-BC4A06FEFF58}"/>
          </ac:spMkLst>
        </pc:spChg>
      </pc:sldChg>
      <pc:sldChg chg="modSp new del">
        <pc:chgData name="Points, Kari" userId="S::kari.points@va.gov::d3d08481-d9e7-4f0b-8844-65fed6518596" providerId="AD" clId="Web-{5D134B5C-ACD5-DAB2-F0B5-6ACF68ABE4B5}" dt="2022-12-01T22:51:53.627" v="5319"/>
        <pc:sldMkLst>
          <pc:docMk/>
          <pc:sldMk cId="2564391166" sldId="838841230"/>
        </pc:sldMkLst>
        <pc:spChg chg="mod">
          <ac:chgData name="Points, Kari" userId="S::kari.points@va.gov::d3d08481-d9e7-4f0b-8844-65fed6518596" providerId="AD" clId="Web-{5D134B5C-ACD5-DAB2-F0B5-6ACF68ABE4B5}" dt="2022-12-01T22:51:52.002" v="5318" actId="20577"/>
          <ac:spMkLst>
            <pc:docMk/>
            <pc:sldMk cId="2564391166" sldId="838841230"/>
            <ac:spMk id="2" creationId="{0BA0CA9C-A260-1937-9CA4-748EBE34B889}"/>
          </ac:spMkLst>
        </pc:spChg>
        <pc:spChg chg="mod">
          <ac:chgData name="Points, Kari" userId="S::kari.points@va.gov::d3d08481-d9e7-4f0b-8844-65fed6518596" providerId="AD" clId="Web-{5D134B5C-ACD5-DAB2-F0B5-6ACF68ABE4B5}" dt="2022-12-01T22:50:54.736" v="5309" actId="20577"/>
          <ac:spMkLst>
            <pc:docMk/>
            <pc:sldMk cId="2564391166" sldId="838841230"/>
            <ac:spMk id="3" creationId="{D8AB3A8F-1FCB-512F-975E-5E2F3488E06C}"/>
          </ac:spMkLst>
        </pc:spChg>
      </pc:sldChg>
      <pc:sldChg chg="addSp delSp modSp new">
        <pc:chgData name="Points, Kari" userId="S::kari.points@va.gov::d3d08481-d9e7-4f0b-8844-65fed6518596" providerId="AD" clId="Web-{5D134B5C-ACD5-DAB2-F0B5-6ACF68ABE4B5}" dt="2022-12-01T23:07:50.369" v="5572"/>
        <pc:sldMkLst>
          <pc:docMk/>
          <pc:sldMk cId="4201618843" sldId="838841231"/>
        </pc:sldMkLst>
        <pc:spChg chg="mod">
          <ac:chgData name="Points, Kari" userId="S::kari.points@va.gov::d3d08481-d9e7-4f0b-8844-65fed6518596" providerId="AD" clId="Web-{5D134B5C-ACD5-DAB2-F0B5-6ACF68ABE4B5}" dt="2022-12-01T22:51:56.534" v="5321" actId="20577"/>
          <ac:spMkLst>
            <pc:docMk/>
            <pc:sldMk cId="4201618843" sldId="838841231"/>
            <ac:spMk id="2" creationId="{5D78D978-F782-B8A1-8281-06CEB62D10A2}"/>
          </ac:spMkLst>
        </pc:spChg>
        <pc:spChg chg="mod">
          <ac:chgData name="Points, Kari" userId="S::kari.points@va.gov::d3d08481-d9e7-4f0b-8844-65fed6518596" providerId="AD" clId="Web-{5D134B5C-ACD5-DAB2-F0B5-6ACF68ABE4B5}" dt="2022-12-01T22:56:42.880" v="5483" actId="20577"/>
          <ac:spMkLst>
            <pc:docMk/>
            <pc:sldMk cId="4201618843" sldId="838841231"/>
            <ac:spMk id="3" creationId="{B069E2E4-C3BD-4C25-2E2C-E635482A5BF8}"/>
          </ac:spMkLst>
        </pc:spChg>
        <pc:spChg chg="add mod">
          <ac:chgData name="Points, Kari" userId="S::kari.points@va.gov::d3d08481-d9e7-4f0b-8844-65fed6518596" providerId="AD" clId="Web-{5D134B5C-ACD5-DAB2-F0B5-6ACF68ABE4B5}" dt="2022-12-01T23:07:50.369" v="5572"/>
          <ac:spMkLst>
            <pc:docMk/>
            <pc:sldMk cId="4201618843" sldId="838841231"/>
            <ac:spMk id="9" creationId="{26FA5D35-9BDE-2BDF-43FE-351F0910DF64}"/>
          </ac:spMkLst>
        </pc:spChg>
        <pc:picChg chg="add del mod">
          <ac:chgData name="Points, Kari" userId="S::kari.points@va.gov::d3d08481-d9e7-4f0b-8844-65fed6518596" providerId="AD" clId="Web-{5D134B5C-ACD5-DAB2-F0B5-6ACF68ABE4B5}" dt="2022-12-01T22:54:25.613" v="5375"/>
          <ac:picMkLst>
            <pc:docMk/>
            <pc:sldMk cId="4201618843" sldId="838841231"/>
            <ac:picMk id="7" creationId="{95215E46-0F9B-D4AD-3015-86743B2FBED2}"/>
          </ac:picMkLst>
        </pc:picChg>
        <pc:picChg chg="add mod">
          <ac:chgData name="Points, Kari" userId="S::kari.points@va.gov::d3d08481-d9e7-4f0b-8844-65fed6518596" providerId="AD" clId="Web-{5D134B5C-ACD5-DAB2-F0B5-6ACF68ABE4B5}" dt="2022-12-01T23:07:37.307" v="5568" actId="14100"/>
          <ac:picMkLst>
            <pc:docMk/>
            <pc:sldMk cId="4201618843" sldId="838841231"/>
            <ac:picMk id="8" creationId="{DC88E73C-B5B7-2C14-3898-AD94EE5D4125}"/>
          </ac:picMkLst>
        </pc:picChg>
      </pc:sldChg>
      <pc:sldChg chg="addSp delSp modSp new">
        <pc:chgData name="Points, Kari" userId="S::kari.points@va.gov::d3d08481-d9e7-4f0b-8844-65fed6518596" providerId="AD" clId="Web-{5D134B5C-ACD5-DAB2-F0B5-6ACF68ABE4B5}" dt="2022-12-01T23:09:47.667" v="5604" actId="1076"/>
        <pc:sldMkLst>
          <pc:docMk/>
          <pc:sldMk cId="1757442002" sldId="838841232"/>
        </pc:sldMkLst>
        <pc:spChg chg="mod">
          <ac:chgData name="Points, Kari" userId="S::kari.points@va.gov::d3d08481-d9e7-4f0b-8844-65fed6518596" providerId="AD" clId="Web-{5D134B5C-ACD5-DAB2-F0B5-6ACF68ABE4B5}" dt="2022-12-01T22:54:23.566" v="5374" actId="20577"/>
          <ac:spMkLst>
            <pc:docMk/>
            <pc:sldMk cId="1757442002" sldId="838841232"/>
            <ac:spMk id="2" creationId="{14793BD7-4966-CFB7-CF4A-28D727F2345B}"/>
          </ac:spMkLst>
        </pc:spChg>
        <pc:spChg chg="del">
          <ac:chgData name="Points, Kari" userId="S::kari.points@va.gov::d3d08481-d9e7-4f0b-8844-65fed6518596" providerId="AD" clId="Web-{5D134B5C-ACD5-DAB2-F0B5-6ACF68ABE4B5}" dt="2022-12-01T22:54:27.707" v="5376"/>
          <ac:spMkLst>
            <pc:docMk/>
            <pc:sldMk cId="1757442002" sldId="838841232"/>
            <ac:spMk id="3" creationId="{F42D08DB-CFAD-16C4-5FDE-9D35F717C41D}"/>
          </ac:spMkLst>
        </pc:spChg>
        <pc:spChg chg="add mod">
          <ac:chgData name="Points, Kari" userId="S::kari.points@va.gov::d3d08481-d9e7-4f0b-8844-65fed6518596" providerId="AD" clId="Web-{5D134B5C-ACD5-DAB2-F0B5-6ACF68ABE4B5}" dt="2022-12-01T23:07:23.119" v="5562" actId="20577"/>
          <ac:spMkLst>
            <pc:docMk/>
            <pc:sldMk cId="1757442002" sldId="838841232"/>
            <ac:spMk id="7" creationId="{7F7D3D88-ED0E-0337-6AB8-BA4FC1B772F4}"/>
          </ac:spMkLst>
        </pc:spChg>
        <pc:spChg chg="add mod">
          <ac:chgData name="Points, Kari" userId="S::kari.points@va.gov::d3d08481-d9e7-4f0b-8844-65fed6518596" providerId="AD" clId="Web-{5D134B5C-ACD5-DAB2-F0B5-6ACF68ABE4B5}" dt="2022-12-01T23:09:47.667" v="5604" actId="1076"/>
          <ac:spMkLst>
            <pc:docMk/>
            <pc:sldMk cId="1757442002" sldId="838841232"/>
            <ac:spMk id="11" creationId="{75005B60-C63B-6524-E6E1-D01B45312646}"/>
          </ac:spMkLst>
        </pc:spChg>
        <pc:spChg chg="add del mod">
          <ac:chgData name="Points, Kari" userId="S::kari.points@va.gov::d3d08481-d9e7-4f0b-8844-65fed6518596" providerId="AD" clId="Web-{5D134B5C-ACD5-DAB2-F0B5-6ACF68ABE4B5}" dt="2022-12-01T23:09:37.886" v="5600"/>
          <ac:spMkLst>
            <pc:docMk/>
            <pc:sldMk cId="1757442002" sldId="838841232"/>
            <ac:spMk id="12" creationId="{A2CA0CFB-CC46-1EAB-1EAA-E69DEC7EC8C2}"/>
          </ac:spMkLst>
        </pc:spChg>
        <pc:spChg chg="add del mod">
          <ac:chgData name="Points, Kari" userId="S::kari.points@va.gov::d3d08481-d9e7-4f0b-8844-65fed6518596" providerId="AD" clId="Web-{5D134B5C-ACD5-DAB2-F0B5-6ACF68ABE4B5}" dt="2022-12-01T23:09:39.292" v="5601"/>
          <ac:spMkLst>
            <pc:docMk/>
            <pc:sldMk cId="1757442002" sldId="838841232"/>
            <ac:spMk id="13" creationId="{0A849C6A-CC60-1F35-A593-C8D761382A95}"/>
          </ac:spMkLst>
        </pc:spChg>
        <pc:spChg chg="add del mod">
          <ac:chgData name="Points, Kari" userId="S::kari.points@va.gov::d3d08481-d9e7-4f0b-8844-65fed6518596" providerId="AD" clId="Web-{5D134B5C-ACD5-DAB2-F0B5-6ACF68ABE4B5}" dt="2022-12-01T23:09:29.495" v="5596"/>
          <ac:spMkLst>
            <pc:docMk/>
            <pc:sldMk cId="1757442002" sldId="838841232"/>
            <ac:spMk id="16" creationId="{1B840312-16D1-058C-2DDB-70BF0F60450F}"/>
          </ac:spMkLst>
        </pc:spChg>
        <pc:picChg chg="add del mod ord">
          <ac:chgData name="Points, Kari" userId="S::kari.points@va.gov::d3d08481-d9e7-4f0b-8844-65fed6518596" providerId="AD" clId="Web-{5D134B5C-ACD5-DAB2-F0B5-6ACF68ABE4B5}" dt="2022-12-01T23:09:17.964" v="5595"/>
          <ac:picMkLst>
            <pc:docMk/>
            <pc:sldMk cId="1757442002" sldId="838841232"/>
            <ac:picMk id="6" creationId="{0A848466-3B17-65A1-9B1F-89C8BCD4CCF7}"/>
          </ac:picMkLst>
        </pc:picChg>
        <pc:picChg chg="add del mod">
          <ac:chgData name="Points, Kari" userId="S::kari.points@va.gov::d3d08481-d9e7-4f0b-8844-65fed6518596" providerId="AD" clId="Web-{5D134B5C-ACD5-DAB2-F0B5-6ACF68ABE4B5}" dt="2022-12-01T23:02:53.461" v="5538"/>
          <ac:picMkLst>
            <pc:docMk/>
            <pc:sldMk cId="1757442002" sldId="838841232"/>
            <ac:picMk id="9" creationId="{4198EF89-26A5-D5DC-40D1-9A98805AEEFA}"/>
          </ac:picMkLst>
        </pc:picChg>
        <pc:picChg chg="add mod">
          <ac:chgData name="Points, Kari" userId="S::kari.points@va.gov::d3d08481-d9e7-4f0b-8844-65fed6518596" providerId="AD" clId="Web-{5D134B5C-ACD5-DAB2-F0B5-6ACF68ABE4B5}" dt="2022-12-01T23:09:44.902" v="5603" actId="1076"/>
          <ac:picMkLst>
            <pc:docMk/>
            <pc:sldMk cId="1757442002" sldId="838841232"/>
            <ac:picMk id="10" creationId="{7B39B245-1DAF-DA7D-A026-ED0A9FC634AF}"/>
          </ac:picMkLst>
        </pc:picChg>
        <pc:picChg chg="add del mod">
          <ac:chgData name="Points, Kari" userId="S::kari.points@va.gov::d3d08481-d9e7-4f0b-8844-65fed6518596" providerId="AD" clId="Web-{5D134B5C-ACD5-DAB2-F0B5-6ACF68ABE4B5}" dt="2022-12-01T23:09:34.089" v="5598"/>
          <ac:picMkLst>
            <pc:docMk/>
            <pc:sldMk cId="1757442002" sldId="838841232"/>
            <ac:picMk id="14" creationId="{5F572B8B-EC81-40F4-15AF-BC5D02317AD6}"/>
          </ac:picMkLst>
        </pc:picChg>
        <pc:picChg chg="add mod ord">
          <ac:chgData name="Points, Kari" userId="S::kari.points@va.gov::d3d08481-d9e7-4f0b-8844-65fed6518596" providerId="AD" clId="Web-{5D134B5C-ACD5-DAB2-F0B5-6ACF68ABE4B5}" dt="2022-12-01T23:09:42.339" v="5602" actId="1076"/>
          <ac:picMkLst>
            <pc:docMk/>
            <pc:sldMk cId="1757442002" sldId="838841232"/>
            <ac:picMk id="17" creationId="{601F6AD3-A818-8483-C3C2-C7C34E4D2925}"/>
          </ac:picMkLst>
        </pc:picChg>
      </pc:sldChg>
      <pc:sldChg chg="modSp new">
        <pc:chgData name="Points, Kari" userId="S::kari.points@va.gov::d3d08481-d9e7-4f0b-8844-65fed6518596" providerId="AD" clId="Web-{5D134B5C-ACD5-DAB2-F0B5-6ACF68ABE4B5}" dt="2022-12-01T23:17:07.593" v="5929" actId="20577"/>
        <pc:sldMkLst>
          <pc:docMk/>
          <pc:sldMk cId="2127298249" sldId="838841233"/>
        </pc:sldMkLst>
        <pc:spChg chg="mod">
          <ac:chgData name="Points, Kari" userId="S::kari.points@va.gov::d3d08481-d9e7-4f0b-8844-65fed6518596" providerId="AD" clId="Web-{5D134B5C-ACD5-DAB2-F0B5-6ACF68ABE4B5}" dt="2022-12-01T23:10:02.136" v="5606" actId="20577"/>
          <ac:spMkLst>
            <pc:docMk/>
            <pc:sldMk cId="2127298249" sldId="838841233"/>
            <ac:spMk id="2" creationId="{CF0EC4BE-7275-F558-DA05-E90A92EF3F63}"/>
          </ac:spMkLst>
        </pc:spChg>
        <pc:spChg chg="mod">
          <ac:chgData name="Points, Kari" userId="S::kari.points@va.gov::d3d08481-d9e7-4f0b-8844-65fed6518596" providerId="AD" clId="Web-{5D134B5C-ACD5-DAB2-F0B5-6ACF68ABE4B5}" dt="2022-12-01T23:17:07.593" v="5929" actId="20577"/>
          <ac:spMkLst>
            <pc:docMk/>
            <pc:sldMk cId="2127298249" sldId="838841233"/>
            <ac:spMk id="3" creationId="{FC405514-65DD-B961-872D-D480CB8E5AE8}"/>
          </ac:spMkLst>
        </pc:spChg>
      </pc:sldChg>
      <pc:sldChg chg="addSp delSp modSp add replId">
        <pc:chgData name="Points, Kari" userId="S::kari.points@va.gov::d3d08481-d9e7-4f0b-8844-65fed6518596" providerId="AD" clId="Web-{5D134B5C-ACD5-DAB2-F0B5-6ACF68ABE4B5}" dt="2022-12-01T23:13:16.185" v="5651"/>
        <pc:sldMkLst>
          <pc:docMk/>
          <pc:sldMk cId="88016265" sldId="838841234"/>
        </pc:sldMkLst>
        <pc:spChg chg="add mod">
          <ac:chgData name="Points, Kari" userId="S::kari.points@va.gov::d3d08481-d9e7-4f0b-8844-65fed6518596" providerId="AD" clId="Web-{5D134B5C-ACD5-DAB2-F0B5-6ACF68ABE4B5}" dt="2022-12-01T23:13:14.966" v="5650" actId="1076"/>
          <ac:spMkLst>
            <pc:docMk/>
            <pc:sldMk cId="88016265" sldId="838841234"/>
            <ac:spMk id="6" creationId="{5CD70345-188C-8EFA-7EC6-1AEEDA67A305}"/>
          </ac:spMkLst>
        </pc:spChg>
        <pc:spChg chg="del">
          <ac:chgData name="Points, Kari" userId="S::kari.points@va.gov::d3d08481-d9e7-4f0b-8844-65fed6518596" providerId="AD" clId="Web-{5D134B5C-ACD5-DAB2-F0B5-6ACF68ABE4B5}" dt="2022-12-01T23:13:16.185" v="5651"/>
          <ac:spMkLst>
            <pc:docMk/>
            <pc:sldMk cId="88016265" sldId="838841234"/>
            <ac:spMk id="8" creationId="{6E63056F-4A8C-9A02-FCF4-2828A8656F46}"/>
          </ac:spMkLst>
        </pc:spChg>
      </pc:sldChg>
    </pc:docChg>
  </pc:docChgLst>
  <pc:docChgLst>
    <pc:chgData name="Points, Kari" userId="S::kari.points@va.gov::d3d08481-d9e7-4f0b-8844-65fed6518596" providerId="AD" clId="Web-{7F0D84F3-67DD-9681-354B-0FCB34828864}"/>
    <pc:docChg chg="modSld">
      <pc:chgData name="Points, Kari" userId="S::kari.points@va.gov::d3d08481-d9e7-4f0b-8844-65fed6518596" providerId="AD" clId="Web-{7F0D84F3-67DD-9681-354B-0FCB34828864}" dt="2022-12-01T19:19:25.773" v="539" actId="20577"/>
      <pc:docMkLst>
        <pc:docMk/>
      </pc:docMkLst>
      <pc:sldChg chg="modSp">
        <pc:chgData name="Points, Kari" userId="S::kari.points@va.gov::d3d08481-d9e7-4f0b-8844-65fed6518596" providerId="AD" clId="Web-{7F0D84F3-67DD-9681-354B-0FCB34828864}" dt="2022-12-01T19:17:57.459" v="431" actId="20577"/>
        <pc:sldMkLst>
          <pc:docMk/>
          <pc:sldMk cId="3401314436" sldId="838841170"/>
        </pc:sldMkLst>
        <pc:spChg chg="mod">
          <ac:chgData name="Points, Kari" userId="S::kari.points@va.gov::d3d08481-d9e7-4f0b-8844-65fed6518596" providerId="AD" clId="Web-{7F0D84F3-67DD-9681-354B-0FCB34828864}" dt="2022-12-01T19:17:57.459" v="431" actId="20577"/>
          <ac:spMkLst>
            <pc:docMk/>
            <pc:sldMk cId="3401314436" sldId="838841170"/>
            <ac:spMk id="3" creationId="{CCB94CA7-1D5D-8BD2-1441-8360BCAA9C7D}"/>
          </ac:spMkLst>
        </pc:spChg>
      </pc:sldChg>
      <pc:sldChg chg="modSp">
        <pc:chgData name="Points, Kari" userId="S::kari.points@va.gov::d3d08481-d9e7-4f0b-8844-65fed6518596" providerId="AD" clId="Web-{7F0D84F3-67DD-9681-354B-0FCB34828864}" dt="2022-12-01T19:19:25.773" v="539" actId="20577"/>
        <pc:sldMkLst>
          <pc:docMk/>
          <pc:sldMk cId="2366223156" sldId="838841171"/>
        </pc:sldMkLst>
        <pc:spChg chg="mod">
          <ac:chgData name="Points, Kari" userId="S::kari.points@va.gov::d3d08481-d9e7-4f0b-8844-65fed6518596" providerId="AD" clId="Web-{7F0D84F3-67DD-9681-354B-0FCB34828864}" dt="2022-12-01T19:11:06.783" v="194" actId="20577"/>
          <ac:spMkLst>
            <pc:docMk/>
            <pc:sldMk cId="2366223156" sldId="838841171"/>
            <ac:spMk id="2" creationId="{518ED66A-88CE-1365-F625-0493AEB395A0}"/>
          </ac:spMkLst>
        </pc:spChg>
        <pc:spChg chg="mod">
          <ac:chgData name="Points, Kari" userId="S::kari.points@va.gov::d3d08481-d9e7-4f0b-8844-65fed6518596" providerId="AD" clId="Web-{7F0D84F3-67DD-9681-354B-0FCB34828864}" dt="2022-12-01T19:19:25.773" v="539" actId="20577"/>
          <ac:spMkLst>
            <pc:docMk/>
            <pc:sldMk cId="2366223156" sldId="838841171"/>
            <ac:spMk id="3" creationId="{5363EE06-3557-4256-0A26-C4B840F66724}"/>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20C8030-E6FA-4646-9D89-9E587F1C9502}" type="datetimeFigureOut">
              <a:rPr lang="en-US" smtClean="0"/>
              <a:t>1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AD5D08-8A99-4D18-862B-572F011FB126}" type="slidenum">
              <a:rPr lang="en-US" smtClean="0"/>
              <a:t>‹#›</a:t>
            </a:fld>
            <a:endParaRPr lang="en-US"/>
          </a:p>
        </p:txBody>
      </p:sp>
    </p:spTree>
    <p:extLst>
      <p:ext uri="{BB962C8B-B14F-4D97-AF65-F5344CB8AC3E}">
        <p14:creationId xmlns:p14="http://schemas.microsoft.com/office/powerpoint/2010/main" val="22404190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ason -Section 1; John- Section 2; Kari- Section 2 and 3</a:t>
            </a:r>
          </a:p>
        </p:txBody>
      </p:sp>
      <p:sp>
        <p:nvSpPr>
          <p:cNvPr id="4" name="Slide Number Placeholder 3"/>
          <p:cNvSpPr>
            <a:spLocks noGrp="1"/>
          </p:cNvSpPr>
          <p:nvPr>
            <p:ph type="sldNum" sz="quarter" idx="5"/>
          </p:nvPr>
        </p:nvSpPr>
        <p:spPr/>
        <p:txBody>
          <a:bodyPr/>
          <a:lstStyle/>
          <a:p>
            <a:fld id="{46E0020C-34B3-4644-B138-3A9503ECB28E}" type="slidenum">
              <a:rPr lang="en-US" smtClean="0"/>
              <a:pPr/>
              <a:t>3</a:t>
            </a:fld>
            <a:endParaRPr lang="en-US"/>
          </a:p>
        </p:txBody>
      </p:sp>
    </p:spTree>
    <p:extLst>
      <p:ext uri="{BB962C8B-B14F-4D97-AF65-F5344CB8AC3E}">
        <p14:creationId xmlns:p14="http://schemas.microsoft.com/office/powerpoint/2010/main" val="3959704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ason -Section 1; John- Section 2; Kari- Section 2 and 3</a:t>
            </a:r>
          </a:p>
        </p:txBody>
      </p:sp>
      <p:sp>
        <p:nvSpPr>
          <p:cNvPr id="4" name="Slide Number Placeholder 3"/>
          <p:cNvSpPr>
            <a:spLocks noGrp="1"/>
          </p:cNvSpPr>
          <p:nvPr>
            <p:ph type="sldNum" sz="quarter" idx="5"/>
          </p:nvPr>
        </p:nvSpPr>
        <p:spPr/>
        <p:txBody>
          <a:bodyPr/>
          <a:lstStyle/>
          <a:p>
            <a:fld id="{46E0020C-34B3-4644-B138-3A9503ECB28E}" type="slidenum">
              <a:rPr lang="en-US" smtClean="0"/>
              <a:pPr/>
              <a:t>4</a:t>
            </a:fld>
            <a:endParaRPr lang="en-US"/>
          </a:p>
        </p:txBody>
      </p:sp>
    </p:spTree>
    <p:extLst>
      <p:ext uri="{BB962C8B-B14F-4D97-AF65-F5344CB8AC3E}">
        <p14:creationId xmlns:p14="http://schemas.microsoft.com/office/powerpoint/2010/main" val="26215168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A4CD5EF-C971-419F-AD43-E0687695BF21}" type="slidenum">
              <a:rPr lang="en-US" smtClean="0"/>
              <a:t>6</a:t>
            </a:fld>
            <a:endParaRPr lang="en-US"/>
          </a:p>
        </p:txBody>
      </p:sp>
    </p:spTree>
    <p:extLst>
      <p:ext uri="{BB962C8B-B14F-4D97-AF65-F5344CB8AC3E}">
        <p14:creationId xmlns:p14="http://schemas.microsoft.com/office/powerpoint/2010/main" val="19044715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ason -Section 1; John- Section 2; Kari- Section 2 and 3</a:t>
            </a:r>
          </a:p>
        </p:txBody>
      </p:sp>
      <p:sp>
        <p:nvSpPr>
          <p:cNvPr id="4" name="Slide Number Placeholder 3"/>
          <p:cNvSpPr>
            <a:spLocks noGrp="1"/>
          </p:cNvSpPr>
          <p:nvPr>
            <p:ph type="sldNum" sz="quarter" idx="5"/>
          </p:nvPr>
        </p:nvSpPr>
        <p:spPr/>
        <p:txBody>
          <a:bodyPr/>
          <a:lstStyle/>
          <a:p>
            <a:fld id="{46E0020C-34B3-4644-B138-3A9503ECB28E}" type="slidenum">
              <a:rPr lang="en-US" smtClean="0"/>
              <a:pPr/>
              <a:t>8</a:t>
            </a:fld>
            <a:endParaRPr lang="en-US"/>
          </a:p>
        </p:txBody>
      </p:sp>
    </p:spTree>
    <p:extLst>
      <p:ext uri="{BB962C8B-B14F-4D97-AF65-F5344CB8AC3E}">
        <p14:creationId xmlns:p14="http://schemas.microsoft.com/office/powerpoint/2010/main" val="4430969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9</a:t>
            </a:fld>
            <a:endParaRPr lang="en-US"/>
          </a:p>
        </p:txBody>
      </p:sp>
    </p:spTree>
    <p:extLst>
      <p:ext uri="{BB962C8B-B14F-4D97-AF65-F5344CB8AC3E}">
        <p14:creationId xmlns:p14="http://schemas.microsoft.com/office/powerpoint/2010/main" val="4089847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10</a:t>
            </a:fld>
            <a:endParaRPr lang="en-US"/>
          </a:p>
        </p:txBody>
      </p:sp>
    </p:spTree>
    <p:extLst>
      <p:ext uri="{BB962C8B-B14F-4D97-AF65-F5344CB8AC3E}">
        <p14:creationId xmlns:p14="http://schemas.microsoft.com/office/powerpoint/2010/main" val="162799800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33</a:t>
            </a:fld>
            <a:endParaRPr lang="en-US"/>
          </a:p>
        </p:txBody>
      </p:sp>
    </p:spTree>
    <p:extLst>
      <p:ext uri="{BB962C8B-B14F-4D97-AF65-F5344CB8AC3E}">
        <p14:creationId xmlns:p14="http://schemas.microsoft.com/office/powerpoint/2010/main" val="15332649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34</a:t>
            </a:fld>
            <a:endParaRPr lang="en-US"/>
          </a:p>
        </p:txBody>
      </p:sp>
    </p:spTree>
    <p:extLst>
      <p:ext uri="{BB962C8B-B14F-4D97-AF65-F5344CB8AC3E}">
        <p14:creationId xmlns:p14="http://schemas.microsoft.com/office/powerpoint/2010/main" val="40898477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6E0020C-34B3-4644-B138-3A9503ECB28E}" type="slidenum">
              <a:rPr lang="en-US" smtClean="0"/>
              <a:pPr/>
              <a:t>45</a:t>
            </a:fld>
            <a:endParaRPr lang="en-US"/>
          </a:p>
        </p:txBody>
      </p:sp>
    </p:spTree>
    <p:extLst>
      <p:ext uri="{BB962C8B-B14F-4D97-AF65-F5344CB8AC3E}">
        <p14:creationId xmlns:p14="http://schemas.microsoft.com/office/powerpoint/2010/main" val="5817110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03946DA-7B17-4B8B-9018-B13D3B82D5C6}" type="datetime1">
              <a:rPr lang="en-US" smtClean="0"/>
              <a:t>12/8/2022</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6437253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33063118-35D6-4879-9E98-44395A9C85BF}" type="datetime1">
              <a:rPr lang="en-US" smtClean="0"/>
              <a:t>12/8/2022</a:t>
            </a:fld>
            <a:endParaRPr lang="en-US"/>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a:p>
        </p:txBody>
      </p:sp>
    </p:spTree>
    <p:extLst>
      <p:ext uri="{BB962C8B-B14F-4D97-AF65-F5344CB8AC3E}">
        <p14:creationId xmlns:p14="http://schemas.microsoft.com/office/powerpoint/2010/main" val="15662957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heme" Target="../theme/theme1.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10" Type="http://schemas.openxmlformats.org/officeDocument/2006/relationships/image" Target="../media/image3.png"/><Relationship Id="rId4" Type="http://schemas.openxmlformats.org/officeDocument/2006/relationships/vmlDrawing" Target="../drawings/vmlDrawing1.v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7" imgW="395" imgH="396" progId="TCLayout.ActiveDocument.1">
                  <p:embed/>
                </p:oleObj>
              </mc:Choice>
              <mc:Fallback>
                <p:oleObj name="think-cell Slide" r:id="rId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83EDEF4-E48D-4B59-8E7E-9E5B02154E1C}" type="datetime1">
              <a:rPr lang="en-US" smtClean="0"/>
              <a:t>12/8/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 </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919361526"/>
      </p:ext>
    </p:extLst>
  </p:cSld>
  <p:clrMap bg1="lt1" tx1="dk1" bg2="lt2" tx2="dk2" accent1="accent1" accent2="accent2" accent3="accent3" accent4="accent4" accent5="accent5" accent6="accent6" hlink="hlink" folHlink="folHlink"/>
  <p:sldLayoutIdLst>
    <p:sldLayoutId id="2147483680" r:id="rId1"/>
    <p:sldLayoutId id="2147483679" r:id="rId2"/>
  </p:sldLayoutIdLst>
  <p:hf hdr="0" ftr="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reports.vssc.med.va.gov/ReportServer/Pages/ReportViewer.aspx?%2fFinance%2fSOA%2fSOACreateRpt&amp;rs:Command=Render" TargetMode="External"/><Relationship Id="rId2" Type="http://schemas.openxmlformats.org/officeDocument/2006/relationships/hyperlink" Target="https://vssc.med.va.gov/VSSCMainApp/products.aspx?PgmArea=59" TargetMode="Externa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s://www.research.va.gov/programs/orppe/education/webinars/archives.cfm" TargetMode="External"/><Relationship Id="rId2" Type="http://schemas.openxmlformats.org/officeDocument/2006/relationships/image" Target="../media/image6.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1.xml"/><Relationship Id="rId1" Type="http://schemas.openxmlformats.org/officeDocument/2006/relationships/themeOverride" Target="../theme/themeOverride1.xml"/><Relationship Id="rId4" Type="http://schemas.openxmlformats.org/officeDocument/2006/relationships/hyperlink" Target="https://www.research.va.gov/programs/orppe/education/webinars/session_archive.cfm?RecordID=207014&amp;Date11092022"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xml"/><Relationship Id="rId1" Type="http://schemas.openxmlformats.org/officeDocument/2006/relationships/themeOverride" Target="../theme/themeOverride2.xml"/></Relationships>
</file>

<file path=ppt/slides/_rels/slide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slideLayout" Target="../slideLayouts/slideLayout1.xml"/><Relationship Id="rId1" Type="http://schemas.openxmlformats.org/officeDocument/2006/relationships/themeOverride" Target="../theme/themeOverride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1.xml"/><Relationship Id="rId1" Type="http://schemas.openxmlformats.org/officeDocument/2006/relationships/themeOverride" Target="../theme/themeOverride4.xml"/><Relationship Id="rId4" Type="http://schemas.openxmlformats.org/officeDocument/2006/relationships/image" Target="../media/image24.png"/></Relationships>
</file>

<file path=ppt/slides/_rels/slide3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microsoft.com/office/2007/relationships/hdphoto" Target="../media/hdphoto1.wdp"/></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33.svg"/></Relationships>
</file>

<file path=ppt/slides/_rels/slide46.xml.rels><?xml version="1.0" encoding="UTF-8" standalone="yes"?>
<Relationships xmlns="http://schemas.openxmlformats.org/package/2006/relationships"><Relationship Id="rId3" Type="http://schemas.openxmlformats.org/officeDocument/2006/relationships/hyperlink" Target="https://vhaarcwebaacsp2.vha.med.va.gov/AACSHome/index.jsp" TargetMode="External"/><Relationship Id="rId2" Type="http://schemas.openxmlformats.org/officeDocument/2006/relationships/hyperlink" Target="https://vssc.med.va.gov/VSSCMainApp/" TargetMode="Externa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hyperlink" Target="https://gcc02.safelinks.protection.outlook.com/?url=https%3A%2F%2Fdvagov.sharepoint.com%2Fsites%2FOGC-Client%2Foffices%2FPRLG%2FLists%2FRequest%2FPending.aspx&amp;data=05%7C01%7C%7C812b9b7b1c4042e1528f08da709da93e%7Ce95f1b23abaf45ee821db7ab251ab3bf%7C0%7C0%7C637946119690574447%7CUnknown%7CTWFpbGZsb3d8eyJWIjoiMC4wLjAwMDAiLCJQIjoiV2luMzIiLCJBTiI6Ik1haWwiLCJXVCI6Mn0%3D%7C3000%7C%7C%7C&amp;sdata=RjzVnOfYcUo7NfE15rC7stRpbHpBIVM%2FX6mrVJkjsCE%3D&amp;reserved=0" TargetMode="Externa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574559" y="3011648"/>
            <a:ext cx="6095551" cy="2473253"/>
          </a:xfrm>
        </p:spPr>
        <p:txBody>
          <a:bodyPr vert="horz" lIns="91440" tIns="45720" rIns="91440" bIns="45720" rtlCol="0" anchor="t">
            <a:normAutofit/>
          </a:bodyPr>
          <a:lstStyle/>
          <a:p>
            <a:r>
              <a:rPr lang="en-US"/>
              <a:t>December 7, 2022</a:t>
            </a:r>
          </a:p>
          <a:p>
            <a:r>
              <a:rPr lang="en-US"/>
              <a:t>Kari Points, AO-Research, Iowa City VAMC</a:t>
            </a:r>
          </a:p>
          <a:p>
            <a:r>
              <a:rPr lang="en-US"/>
              <a:t>Antonio Laracuente, Director of Field Operations </a:t>
            </a:r>
          </a:p>
          <a:p>
            <a:r>
              <a:rPr lang="en-US"/>
              <a:t>Jason Berlow, Management Analyst, Finance</a:t>
            </a:r>
          </a:p>
          <a:p>
            <a:endParaRPr lang="en-US"/>
          </a:p>
          <a:p>
            <a:endParaRPr lang="en-US"/>
          </a:p>
          <a:p>
            <a:endParaRPr lang="en-US"/>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569666" y="2893809"/>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244524" y="988378"/>
            <a:ext cx="11793816" cy="1446550"/>
          </a:xfrm>
          <a:prstGeom prst="rect">
            <a:avLst/>
          </a:prstGeom>
          <a:noFill/>
        </p:spPr>
        <p:txBody>
          <a:bodyPr wrap="square" lIns="91440" tIns="45720" rIns="91440" bIns="45720" rtlCol="0" anchor="t">
            <a:spAutoFit/>
          </a:bodyPr>
          <a:lstStyle/>
          <a:p>
            <a:pPr algn="ctr"/>
            <a:r>
              <a:rPr lang="en-US" sz="4400" dirty="0">
                <a:cs typeface="Calibri"/>
              </a:rPr>
              <a:t>Understanding</a:t>
            </a:r>
            <a:r>
              <a:rPr lang="en-US" sz="4400" b="1" dirty="0">
                <a:cs typeface="Calibri"/>
              </a:rPr>
              <a:t> </a:t>
            </a:r>
            <a:r>
              <a:rPr lang="en-US" sz="4400" dirty="0">
                <a:cs typeface="Calibri"/>
              </a:rPr>
              <a:t>and Balancing the Status of Allowance</a:t>
            </a:r>
            <a:endParaRPr lang="en-US" sz="4400" b="1" dirty="0">
              <a:cs typeface="Calibri"/>
            </a:endParaRPr>
          </a:p>
        </p:txBody>
      </p:sp>
      <p:sp>
        <p:nvSpPr>
          <p:cNvPr id="2" name="Slide Number Placeholder 1">
            <a:extLst>
              <a:ext uri="{FF2B5EF4-FFF2-40B4-BE49-F238E27FC236}">
                <a16:creationId xmlns:a16="http://schemas.microsoft.com/office/drawing/2014/main" id="{34434A85-9CC5-4E29-9666-74DA3E13829B}"/>
              </a:ext>
            </a:extLst>
          </p:cNvPr>
          <p:cNvSpPr>
            <a:spLocks noGrp="1"/>
          </p:cNvSpPr>
          <p:nvPr>
            <p:ph type="sldNum" sz="quarter" idx="12"/>
          </p:nvPr>
        </p:nvSpPr>
        <p:spPr/>
        <p:txBody>
          <a:bodyPr/>
          <a:lstStyle/>
          <a:p>
            <a:fld id="{670A9334-4E67-F94F-A05E-0CE8B74A054E}" type="slidenum">
              <a:rPr lang="en-US" smtClean="0"/>
              <a:pPr/>
              <a:t>1</a:t>
            </a:fld>
            <a:endParaRPr lang="en-US"/>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a:t>Section 1: The impact of different activities on the SOA</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a:lstStyle/>
          <a:p>
            <a:r>
              <a:rPr lang="en-US" sz="2400"/>
              <a:t>The SOA is like a Cash Flow Statement allowing you to quickly review your Cash received to date (allocations), Expenses (obligations and commitments) and your overall balance.</a:t>
            </a:r>
          </a:p>
          <a:p>
            <a:r>
              <a:rPr lang="en-US" sz="2400"/>
              <a:t>TDAs are the primary revenue source will appear in the Budg columns</a:t>
            </a:r>
          </a:p>
          <a:p>
            <a:r>
              <a:rPr lang="en-US" sz="2400"/>
              <a:t>Obligations, expense transfers, Purchase card order appear in the OBL columns</a:t>
            </a:r>
          </a:p>
          <a:p>
            <a:r>
              <a:rPr lang="en-US" sz="2400"/>
              <a:t>Your current balance appears in the FYTD Unobl</a:t>
            </a:r>
          </a:p>
          <a:p>
            <a:r>
              <a:rPr lang="en-US" sz="2400"/>
              <a:t>Fiscal can move Ceilings (Budg) within a program at a facility (ex. sal to all other)</a:t>
            </a:r>
          </a:p>
          <a:p>
            <a:r>
              <a:rPr lang="en-US" sz="2400"/>
              <a:t>Fiscal cannot move Ceilings across programs (ex. 81 to 82 or 84 to 81) or Fiscal Year (ex. BFY 22 to 23)</a:t>
            </a:r>
          </a:p>
          <a:p>
            <a:pPr marL="0" indent="0">
              <a:buNone/>
            </a:pPr>
            <a:endParaRPr lang="en-US" sz="2400"/>
          </a:p>
        </p:txBody>
      </p:sp>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10</a:t>
            </a:fld>
            <a:endParaRPr lang="en-US"/>
          </a:p>
        </p:txBody>
      </p:sp>
      <p:sp>
        <p:nvSpPr>
          <p:cNvPr id="8" name="Date Placeholder 7">
            <a:extLst>
              <a:ext uri="{FF2B5EF4-FFF2-40B4-BE49-F238E27FC236}">
                <a16:creationId xmlns:a16="http://schemas.microsoft.com/office/drawing/2014/main" id="{C065D4D9-2799-4BDE-9781-4C70735E113E}"/>
              </a:ext>
            </a:extLst>
          </p:cNvPr>
          <p:cNvSpPr>
            <a:spLocks noGrp="1"/>
          </p:cNvSpPr>
          <p:nvPr>
            <p:ph type="dt" sz="half" idx="10"/>
          </p:nvPr>
        </p:nvSpPr>
        <p:spPr/>
        <p:txBody>
          <a:bodyPr/>
          <a:lstStyle/>
          <a:p>
            <a:fld id="{9A2C21B7-5E37-411E-99A1-5DB28659920D}" type="datetime1">
              <a:rPr lang="en-US" smtClean="0"/>
              <a:t>12/8/2022</a:t>
            </a:fld>
            <a:endParaRPr lang="en-US"/>
          </a:p>
        </p:txBody>
      </p:sp>
      <p:pic>
        <p:nvPicPr>
          <p:cNvPr id="9" name="Picture 6">
            <a:extLst>
              <a:ext uri="{FF2B5EF4-FFF2-40B4-BE49-F238E27FC236}">
                <a16:creationId xmlns:a16="http://schemas.microsoft.com/office/drawing/2014/main" id="{DC622A05-E71C-4CF1-BDCD-F3DF8A897C30}"/>
              </a:ext>
            </a:extLst>
          </p:cNvPr>
          <p:cNvPicPr>
            <a:picLocks noChangeAspect="1"/>
          </p:cNvPicPr>
          <p:nvPr/>
        </p:nvPicPr>
        <p:blipFill>
          <a:blip r:embed="rId3"/>
          <a:stretch>
            <a:fillRect/>
          </a:stretch>
        </p:blipFill>
        <p:spPr>
          <a:xfrm>
            <a:off x="470224" y="4561806"/>
            <a:ext cx="10515600" cy="1482001"/>
          </a:xfrm>
          <a:prstGeom prst="rect">
            <a:avLst/>
          </a:prstGeom>
          <a:ln w="38100">
            <a:solidFill>
              <a:schemeClr val="accent1"/>
            </a:solidFill>
          </a:ln>
        </p:spPr>
      </p:pic>
    </p:spTree>
    <p:extLst>
      <p:ext uri="{BB962C8B-B14F-4D97-AF65-F5344CB8AC3E}">
        <p14:creationId xmlns:p14="http://schemas.microsoft.com/office/powerpoint/2010/main" val="796764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4595852-F6F6-4331-96CB-6907FA751680}"/>
              </a:ext>
            </a:extLst>
          </p:cNvPr>
          <p:cNvSpPr>
            <a:spLocks noGrp="1"/>
          </p:cNvSpPr>
          <p:nvPr>
            <p:ph idx="1"/>
          </p:nvPr>
        </p:nvSpPr>
        <p:spPr>
          <a:xfrm>
            <a:off x="371475" y="940380"/>
            <a:ext cx="10515600" cy="4351338"/>
          </a:xfrm>
        </p:spPr>
        <p:txBody>
          <a:bodyPr/>
          <a:lstStyle/>
          <a:p>
            <a:r>
              <a:rPr lang="en-US"/>
              <a:t>The SOA is the singular most important report available to provide you a picture of where your funds currently stand.</a:t>
            </a:r>
          </a:p>
          <a:p>
            <a:r>
              <a:rPr lang="en-US"/>
              <a:t>The SOA ties to the F20D and in some cases the Running Balances (the VISTA/IFCAP Checkbook).</a:t>
            </a:r>
          </a:p>
          <a:p>
            <a:r>
              <a:rPr lang="en-US"/>
              <a:t>It should be reviewed no less than weekly for the following:</a:t>
            </a:r>
          </a:p>
          <a:p>
            <a:pPr lvl="1"/>
            <a:r>
              <a:rPr lang="en-US"/>
              <a:t>Items in undistributed</a:t>
            </a:r>
          </a:p>
          <a:p>
            <a:pPr lvl="1"/>
            <a:r>
              <a:rPr lang="en-US"/>
              <a:t>Large balance changes</a:t>
            </a:r>
          </a:p>
          <a:p>
            <a:pPr lvl="1"/>
            <a:r>
              <a:rPr lang="en-US"/>
              <a:t>Payroll distributions</a:t>
            </a:r>
          </a:p>
          <a:p>
            <a:pPr lvl="1"/>
            <a:r>
              <a:rPr lang="en-US"/>
              <a:t>Accruals</a:t>
            </a:r>
          </a:p>
          <a:p>
            <a:r>
              <a:rPr lang="en-US"/>
              <a:t>As you get closer to the end of the year it becomes very important (this is what ORD Finance looks at).</a:t>
            </a:r>
          </a:p>
          <a:p>
            <a:r>
              <a:rPr lang="en-US"/>
              <a:t>The pretty effect – keeping a clean status.</a:t>
            </a:r>
          </a:p>
        </p:txBody>
      </p:sp>
      <p:sp>
        <p:nvSpPr>
          <p:cNvPr id="10" name="Date Placeholder 9">
            <a:extLst>
              <a:ext uri="{FF2B5EF4-FFF2-40B4-BE49-F238E27FC236}">
                <a16:creationId xmlns:a16="http://schemas.microsoft.com/office/drawing/2014/main" id="{BE8FEFE0-0FAA-4B8D-8816-A761B86A44FC}"/>
              </a:ext>
            </a:extLst>
          </p:cNvPr>
          <p:cNvSpPr>
            <a:spLocks noGrp="1"/>
          </p:cNvSpPr>
          <p:nvPr>
            <p:ph type="dt" sz="half" idx="10"/>
          </p:nvPr>
        </p:nvSpPr>
        <p:spPr/>
        <p:txBody>
          <a:bodyPr/>
          <a:lstStyle/>
          <a:p>
            <a:fld id="{6A48D0F6-840B-4DCD-A570-0CB453B12933}" type="datetime1">
              <a:rPr lang="en-US" smtClean="0"/>
              <a:t>12/8/2022</a:t>
            </a:fld>
            <a:endParaRPr lang="en-US"/>
          </a:p>
        </p:txBody>
      </p:sp>
      <p:sp>
        <p:nvSpPr>
          <p:cNvPr id="4" name="Slide Number Placeholder 3">
            <a:extLst>
              <a:ext uri="{FF2B5EF4-FFF2-40B4-BE49-F238E27FC236}">
                <a16:creationId xmlns:a16="http://schemas.microsoft.com/office/drawing/2014/main" id="{F5A9EB57-242A-456F-A867-424BCE5ED330}"/>
              </a:ext>
            </a:extLst>
          </p:cNvPr>
          <p:cNvSpPr>
            <a:spLocks noGrp="1"/>
          </p:cNvSpPr>
          <p:nvPr>
            <p:ph type="sldNum" sz="quarter" idx="12"/>
          </p:nvPr>
        </p:nvSpPr>
        <p:spPr/>
        <p:txBody>
          <a:bodyPr/>
          <a:lstStyle/>
          <a:p>
            <a:fld id="{670A9334-4E67-F94F-A05E-0CE8B74A054E}" type="slidenum">
              <a:rPr lang="en-US" smtClean="0"/>
              <a:pPr/>
              <a:t>11</a:t>
            </a:fld>
            <a:endParaRPr lang="en-US"/>
          </a:p>
        </p:txBody>
      </p:sp>
      <p:sp>
        <p:nvSpPr>
          <p:cNvPr id="7" name="TextBox 6">
            <a:extLst>
              <a:ext uri="{FF2B5EF4-FFF2-40B4-BE49-F238E27FC236}">
                <a16:creationId xmlns:a16="http://schemas.microsoft.com/office/drawing/2014/main" id="{0B470449-8325-45F2-A7B0-1037040189AE}"/>
              </a:ext>
            </a:extLst>
          </p:cNvPr>
          <p:cNvSpPr txBox="1"/>
          <p:nvPr/>
        </p:nvSpPr>
        <p:spPr>
          <a:xfrm>
            <a:off x="371475" y="136525"/>
            <a:ext cx="7924800" cy="646331"/>
          </a:xfrm>
          <a:prstGeom prst="rect">
            <a:avLst/>
          </a:prstGeom>
          <a:noFill/>
        </p:spPr>
        <p:txBody>
          <a:bodyPr wrap="square">
            <a:spAutoFit/>
          </a:bodyPr>
          <a:lstStyle/>
          <a:p>
            <a:r>
              <a:rPr lang="en-US" sz="3600" b="1">
                <a:solidFill>
                  <a:schemeClr val="bg1"/>
                </a:solidFill>
                <a:latin typeface="+mj-lt"/>
                <a:ea typeface="+mj-ea"/>
                <a:cs typeface="+mj-cs"/>
              </a:rPr>
              <a:t>Section 1: Keeping up with the SOA</a:t>
            </a:r>
          </a:p>
        </p:txBody>
      </p:sp>
    </p:spTree>
    <p:extLst>
      <p:ext uri="{BB962C8B-B14F-4D97-AF65-F5344CB8AC3E}">
        <p14:creationId xmlns:p14="http://schemas.microsoft.com/office/powerpoint/2010/main" val="2682701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FEEDD8-5EA6-4067-B379-1DE2E8E2E57A}"/>
              </a:ext>
            </a:extLst>
          </p:cNvPr>
          <p:cNvSpPr>
            <a:spLocks noGrp="1"/>
          </p:cNvSpPr>
          <p:nvPr>
            <p:ph idx="1"/>
          </p:nvPr>
        </p:nvSpPr>
        <p:spPr>
          <a:xfrm>
            <a:off x="298650" y="1253331"/>
            <a:ext cx="10515600" cy="4351338"/>
          </a:xfrm>
        </p:spPr>
        <p:txBody>
          <a:bodyPr vert="horz" lIns="91440" tIns="45720" rIns="91440" bIns="45720" rtlCol="0" anchor="t">
            <a:noAutofit/>
          </a:bodyPr>
          <a:lstStyle/>
          <a:p>
            <a:r>
              <a:rPr lang="en-US"/>
              <a:t>Continue to follow the guidance from the memo FY 23 Continuing Resolution Guidance on Budget Execution:</a:t>
            </a:r>
          </a:p>
          <a:p>
            <a:pPr lvl="1"/>
            <a:r>
              <a:rPr lang="en-US" sz="2000" b="1" i="0" u="none" strike="noStrike" baseline="0">
                <a:solidFill>
                  <a:srgbClr val="000000"/>
                </a:solidFill>
              </a:rPr>
              <a:t>Hiring:</a:t>
            </a:r>
            <a:r>
              <a:rPr lang="en-US" sz="2000" b="0" i="0" u="none" strike="noStrike" baseline="0">
                <a:solidFill>
                  <a:srgbClr val="000000"/>
                </a:solidFill>
              </a:rPr>
              <a:t> Continue to hire personnel for projects that are starting under the Schedule B Appointment Authority (under 5 CFR 213.3227(a) for Research Positions). Do not wait for the full-year enactment to start staffing projects. The required documentation to submit to Human Resources to initiate hiring remains unchanged during </a:t>
            </a:r>
            <a:r>
              <a:rPr lang="en-US" sz="2000">
                <a:solidFill>
                  <a:srgbClr val="000000"/>
                </a:solidFill>
              </a:rPr>
              <a:t>a</a:t>
            </a:r>
            <a:r>
              <a:rPr lang="en-US" sz="2000" b="0" i="0" u="none" strike="noStrike" baseline="0">
                <a:solidFill>
                  <a:srgbClr val="000000"/>
                </a:solidFill>
              </a:rPr>
              <a:t> CR.</a:t>
            </a:r>
            <a:endParaRPr lang="en-US" sz="2000" b="0" i="0" u="none" strike="noStrike" baseline="0">
              <a:solidFill>
                <a:srgbClr val="000000"/>
              </a:solidFill>
              <a:cs typeface="Calibri"/>
            </a:endParaRPr>
          </a:p>
          <a:p>
            <a:pPr lvl="1"/>
            <a:r>
              <a:rPr lang="en-US" sz="2000" b="1">
                <a:solidFill>
                  <a:srgbClr val="000000"/>
                </a:solidFill>
              </a:rPr>
              <a:t>Interpersonal Agreements (IPAs) with Affiliated Non-Profit Corporations (NPCs): </a:t>
            </a:r>
            <a:r>
              <a:rPr lang="en-US" sz="2000">
                <a:solidFill>
                  <a:srgbClr val="000000"/>
                </a:solidFill>
              </a:rPr>
              <a:t>Obligations (1358s) may be obligated up to the determined time frame that can be afforded by the continuing resolution.</a:t>
            </a:r>
            <a:endParaRPr lang="en-US" sz="2000">
              <a:solidFill>
                <a:srgbClr val="000000"/>
              </a:solidFill>
              <a:cs typeface="Calibri"/>
            </a:endParaRPr>
          </a:p>
          <a:p>
            <a:pPr lvl="1"/>
            <a:r>
              <a:rPr lang="en-US" sz="2000" b="1">
                <a:solidFill>
                  <a:srgbClr val="000000"/>
                </a:solidFill>
              </a:rPr>
              <a:t>Contracting: </a:t>
            </a:r>
            <a:r>
              <a:rPr lang="en-US" sz="2000">
                <a:solidFill>
                  <a:srgbClr val="000000"/>
                </a:solidFill>
              </a:rPr>
              <a:t>Submit your acquisition packages into RPO East as early as possible. If you have equipment purchases or service contracts that are needed at any time during the year, enter them into IFCAP and FORCE and request Fiscal to allow you to overcommit (VISTA) by showing them the ITA or funding sheets. This is critical to helping Contracting execute actions sooner.</a:t>
            </a:r>
            <a:endParaRPr lang="en-US" sz="2000">
              <a:solidFill>
                <a:srgbClr val="000000"/>
              </a:solidFill>
              <a:cs typeface="Calibri"/>
            </a:endParaRPr>
          </a:p>
        </p:txBody>
      </p:sp>
      <p:sp>
        <p:nvSpPr>
          <p:cNvPr id="10" name="Date Placeholder 9">
            <a:extLst>
              <a:ext uri="{FF2B5EF4-FFF2-40B4-BE49-F238E27FC236}">
                <a16:creationId xmlns:a16="http://schemas.microsoft.com/office/drawing/2014/main" id="{BE8FEFE0-0FAA-4B8D-8816-A761B86A44FC}"/>
              </a:ext>
            </a:extLst>
          </p:cNvPr>
          <p:cNvSpPr>
            <a:spLocks noGrp="1"/>
          </p:cNvSpPr>
          <p:nvPr>
            <p:ph type="dt" sz="half" idx="10"/>
          </p:nvPr>
        </p:nvSpPr>
        <p:spPr/>
        <p:txBody>
          <a:bodyPr/>
          <a:lstStyle/>
          <a:p>
            <a:fld id="{6A48D0F6-840B-4DCD-A570-0CB453B12933}" type="datetime1">
              <a:rPr lang="en-US" smtClean="0"/>
              <a:t>12/8/2022</a:t>
            </a:fld>
            <a:endParaRPr lang="en-US"/>
          </a:p>
        </p:txBody>
      </p:sp>
      <p:sp>
        <p:nvSpPr>
          <p:cNvPr id="4" name="Slide Number Placeholder 3">
            <a:extLst>
              <a:ext uri="{FF2B5EF4-FFF2-40B4-BE49-F238E27FC236}">
                <a16:creationId xmlns:a16="http://schemas.microsoft.com/office/drawing/2014/main" id="{F5A9EB57-242A-456F-A867-424BCE5ED330}"/>
              </a:ext>
            </a:extLst>
          </p:cNvPr>
          <p:cNvSpPr>
            <a:spLocks noGrp="1"/>
          </p:cNvSpPr>
          <p:nvPr>
            <p:ph type="sldNum" sz="quarter" idx="12"/>
          </p:nvPr>
        </p:nvSpPr>
        <p:spPr/>
        <p:txBody>
          <a:bodyPr/>
          <a:lstStyle/>
          <a:p>
            <a:fld id="{670A9334-4E67-F94F-A05E-0CE8B74A054E}" type="slidenum">
              <a:rPr lang="en-US" smtClean="0"/>
              <a:pPr/>
              <a:t>12</a:t>
            </a:fld>
            <a:endParaRPr lang="en-US"/>
          </a:p>
        </p:txBody>
      </p:sp>
      <p:sp>
        <p:nvSpPr>
          <p:cNvPr id="7" name="TextBox 6">
            <a:extLst>
              <a:ext uri="{FF2B5EF4-FFF2-40B4-BE49-F238E27FC236}">
                <a16:creationId xmlns:a16="http://schemas.microsoft.com/office/drawing/2014/main" id="{0B470449-8325-45F2-A7B0-1037040189AE}"/>
              </a:ext>
            </a:extLst>
          </p:cNvPr>
          <p:cNvSpPr txBox="1"/>
          <p:nvPr/>
        </p:nvSpPr>
        <p:spPr>
          <a:xfrm>
            <a:off x="371475" y="136525"/>
            <a:ext cx="10369951" cy="646331"/>
          </a:xfrm>
          <a:prstGeom prst="rect">
            <a:avLst/>
          </a:prstGeom>
          <a:noFill/>
        </p:spPr>
        <p:txBody>
          <a:bodyPr wrap="square">
            <a:spAutoFit/>
          </a:bodyPr>
          <a:lstStyle/>
          <a:p>
            <a:r>
              <a:rPr lang="en-US" sz="3600" b="1">
                <a:solidFill>
                  <a:schemeClr val="bg1"/>
                </a:solidFill>
                <a:latin typeface="+mj-lt"/>
                <a:ea typeface="+mj-ea"/>
                <a:cs typeface="+mj-cs"/>
              </a:rPr>
              <a:t>Section 1: Managing under the Continuing Resolution</a:t>
            </a:r>
          </a:p>
        </p:txBody>
      </p:sp>
    </p:spTree>
    <p:extLst>
      <p:ext uri="{BB962C8B-B14F-4D97-AF65-F5344CB8AC3E}">
        <p14:creationId xmlns:p14="http://schemas.microsoft.com/office/powerpoint/2010/main" val="12516834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5A9EB57-242A-456F-A867-424BCE5ED330}"/>
              </a:ext>
            </a:extLst>
          </p:cNvPr>
          <p:cNvSpPr>
            <a:spLocks noGrp="1"/>
          </p:cNvSpPr>
          <p:nvPr>
            <p:ph type="sldNum" sz="quarter" idx="12"/>
          </p:nvPr>
        </p:nvSpPr>
        <p:spPr/>
        <p:txBody>
          <a:bodyPr/>
          <a:lstStyle/>
          <a:p>
            <a:fld id="{670A9334-4E67-F94F-A05E-0CE8B74A054E}" type="slidenum">
              <a:rPr lang="en-US" smtClean="0"/>
              <a:pPr/>
              <a:t>13</a:t>
            </a:fld>
            <a:endParaRPr lang="en-US"/>
          </a:p>
        </p:txBody>
      </p:sp>
      <p:sp>
        <p:nvSpPr>
          <p:cNvPr id="7" name="TextBox 6">
            <a:extLst>
              <a:ext uri="{FF2B5EF4-FFF2-40B4-BE49-F238E27FC236}">
                <a16:creationId xmlns:a16="http://schemas.microsoft.com/office/drawing/2014/main" id="{0B470449-8325-45F2-A7B0-1037040189AE}"/>
              </a:ext>
            </a:extLst>
          </p:cNvPr>
          <p:cNvSpPr txBox="1"/>
          <p:nvPr/>
        </p:nvSpPr>
        <p:spPr>
          <a:xfrm>
            <a:off x="219181" y="146541"/>
            <a:ext cx="9393149" cy="646331"/>
          </a:xfrm>
          <a:prstGeom prst="rect">
            <a:avLst/>
          </a:prstGeom>
          <a:noFill/>
        </p:spPr>
        <p:txBody>
          <a:bodyPr wrap="square">
            <a:spAutoFit/>
          </a:bodyPr>
          <a:lstStyle/>
          <a:p>
            <a:r>
              <a:rPr lang="en-US" sz="3600" b="1">
                <a:solidFill>
                  <a:schemeClr val="bg1"/>
                </a:solidFill>
                <a:latin typeface="+mj-lt"/>
                <a:ea typeface="+mj-ea"/>
                <a:cs typeface="+mj-cs"/>
              </a:rPr>
              <a:t>Section 2: How to Get, Read, and Interpret the SOA</a:t>
            </a:r>
          </a:p>
        </p:txBody>
      </p:sp>
      <p:sp>
        <p:nvSpPr>
          <p:cNvPr id="10" name="Date Placeholder 9">
            <a:extLst>
              <a:ext uri="{FF2B5EF4-FFF2-40B4-BE49-F238E27FC236}">
                <a16:creationId xmlns:a16="http://schemas.microsoft.com/office/drawing/2014/main" id="{BE8FEFE0-0FAA-4B8D-8816-A761B86A44FC}"/>
              </a:ext>
            </a:extLst>
          </p:cNvPr>
          <p:cNvSpPr>
            <a:spLocks noGrp="1"/>
          </p:cNvSpPr>
          <p:nvPr>
            <p:ph type="dt" sz="half" idx="10"/>
          </p:nvPr>
        </p:nvSpPr>
        <p:spPr/>
        <p:txBody>
          <a:bodyPr/>
          <a:lstStyle/>
          <a:p>
            <a:fld id="{6A48D0F6-840B-4DCD-A570-0CB453B12933}" type="datetime1">
              <a:rPr lang="en-US" smtClean="0"/>
              <a:t>12/8/2022</a:t>
            </a:fld>
            <a:endParaRPr lang="en-US"/>
          </a:p>
        </p:txBody>
      </p:sp>
      <p:sp>
        <p:nvSpPr>
          <p:cNvPr id="8" name="Speech Bubble: Oval 7">
            <a:extLst>
              <a:ext uri="{FF2B5EF4-FFF2-40B4-BE49-F238E27FC236}">
                <a16:creationId xmlns:a16="http://schemas.microsoft.com/office/drawing/2014/main" id="{449E6DBC-7AA2-423E-B215-D0C62A1D5263}"/>
              </a:ext>
            </a:extLst>
          </p:cNvPr>
          <p:cNvSpPr/>
          <p:nvPr/>
        </p:nvSpPr>
        <p:spPr>
          <a:xfrm>
            <a:off x="7525490" y="1263722"/>
            <a:ext cx="2743200" cy="1633572"/>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OA? Can someone get me an SOA?  BTW what does it mean?</a:t>
            </a:r>
          </a:p>
        </p:txBody>
      </p:sp>
      <p:pic>
        <p:nvPicPr>
          <p:cNvPr id="5" name="Picture 4" descr="A picture containing wall, person, indoor, posing&#10;&#10;Description automatically generated">
            <a:extLst>
              <a:ext uri="{FF2B5EF4-FFF2-40B4-BE49-F238E27FC236}">
                <a16:creationId xmlns:a16="http://schemas.microsoft.com/office/drawing/2014/main" id="{2090F106-A79A-4A00-AB9A-D85A0C7F74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61624" y="1370258"/>
            <a:ext cx="5362575" cy="3762375"/>
          </a:xfrm>
          <a:prstGeom prst="rect">
            <a:avLst/>
          </a:prstGeom>
        </p:spPr>
      </p:pic>
    </p:spTree>
    <p:extLst>
      <p:ext uri="{BB962C8B-B14F-4D97-AF65-F5344CB8AC3E}">
        <p14:creationId xmlns:p14="http://schemas.microsoft.com/office/powerpoint/2010/main" val="2171040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F732C-E3EC-81EB-3BB7-400FD904B044}"/>
              </a:ext>
            </a:extLst>
          </p:cNvPr>
          <p:cNvSpPr>
            <a:spLocks noGrp="1"/>
          </p:cNvSpPr>
          <p:nvPr>
            <p:ph type="title"/>
          </p:nvPr>
        </p:nvSpPr>
        <p:spPr>
          <a:xfrm>
            <a:off x="142874" y="136525"/>
            <a:ext cx="11600487" cy="618385"/>
          </a:xfrm>
        </p:spPr>
        <p:txBody>
          <a:bodyPr/>
          <a:lstStyle/>
          <a:p>
            <a:r>
              <a:rPr lang="en-US">
                <a:ea typeface="+mj-lt"/>
                <a:cs typeface="+mj-lt"/>
              </a:rPr>
              <a:t>Section 2: Where can I find the SOA?</a:t>
            </a:r>
            <a:endParaRPr lang="en-US"/>
          </a:p>
        </p:txBody>
      </p:sp>
      <p:sp>
        <p:nvSpPr>
          <p:cNvPr id="3" name="Content Placeholder 2">
            <a:extLst>
              <a:ext uri="{FF2B5EF4-FFF2-40B4-BE49-F238E27FC236}">
                <a16:creationId xmlns:a16="http://schemas.microsoft.com/office/drawing/2014/main" id="{CCB94CA7-1D5D-8BD2-1441-8360BCAA9C7D}"/>
              </a:ext>
            </a:extLst>
          </p:cNvPr>
          <p:cNvSpPr>
            <a:spLocks noGrp="1"/>
          </p:cNvSpPr>
          <p:nvPr>
            <p:ph idx="1"/>
          </p:nvPr>
        </p:nvSpPr>
        <p:spPr/>
        <p:txBody>
          <a:bodyPr vert="horz" lIns="91440" tIns="45720" rIns="91440" bIns="45720" rtlCol="0" anchor="t">
            <a:noAutofit/>
          </a:bodyPr>
          <a:lstStyle/>
          <a:p>
            <a:pPr marL="0" indent="0">
              <a:buNone/>
            </a:pPr>
            <a:r>
              <a:rPr lang="en-US">
                <a:cs typeface="Calibri"/>
              </a:rPr>
              <a:t>The SOA can be found two different ways:</a:t>
            </a:r>
          </a:p>
          <a:p>
            <a:pPr lvl="1"/>
            <a:endParaRPr lang="en-US" b="1">
              <a:cs typeface="Calibri"/>
            </a:endParaRPr>
          </a:p>
          <a:p>
            <a:pPr lvl="1"/>
            <a:endParaRPr lang="en-US" b="1">
              <a:cs typeface="Calibri"/>
            </a:endParaRPr>
          </a:p>
          <a:p>
            <a:pPr marL="457200" lvl="1" indent="0">
              <a:buNone/>
            </a:pPr>
            <a:endParaRPr lang="en-US">
              <a:cs typeface="Calibri"/>
            </a:endParaRPr>
          </a:p>
          <a:p>
            <a:pPr marL="914400" lvl="2" indent="0">
              <a:buNone/>
            </a:pPr>
            <a:endParaRPr lang="en-US">
              <a:cs typeface="Calibri"/>
            </a:endParaRPr>
          </a:p>
          <a:p>
            <a:endParaRPr lang="en-US">
              <a:cs typeface="Calibri"/>
            </a:endParaRPr>
          </a:p>
        </p:txBody>
      </p:sp>
      <p:sp>
        <p:nvSpPr>
          <p:cNvPr id="4" name="Date Placeholder 3">
            <a:extLst>
              <a:ext uri="{FF2B5EF4-FFF2-40B4-BE49-F238E27FC236}">
                <a16:creationId xmlns:a16="http://schemas.microsoft.com/office/drawing/2014/main" id="{B36DD00E-9C39-850F-C22D-95AC011A5183}"/>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50C0CF8D-B363-49EF-CE82-7D21BF97005B}"/>
              </a:ext>
            </a:extLst>
          </p:cNvPr>
          <p:cNvSpPr>
            <a:spLocks noGrp="1"/>
          </p:cNvSpPr>
          <p:nvPr>
            <p:ph type="sldNum" sz="quarter" idx="12"/>
          </p:nvPr>
        </p:nvSpPr>
        <p:spPr/>
        <p:txBody>
          <a:bodyPr/>
          <a:lstStyle/>
          <a:p>
            <a:fld id="{670A9334-4E67-F94F-A05E-0CE8B74A054E}" type="slidenum">
              <a:rPr lang="en-US" smtClean="0"/>
              <a:t>14</a:t>
            </a:fld>
            <a:endParaRPr lang="en-US"/>
          </a:p>
        </p:txBody>
      </p:sp>
      <p:graphicFrame>
        <p:nvGraphicFramePr>
          <p:cNvPr id="6" name="Table 6">
            <a:extLst>
              <a:ext uri="{FF2B5EF4-FFF2-40B4-BE49-F238E27FC236}">
                <a16:creationId xmlns:a16="http://schemas.microsoft.com/office/drawing/2014/main" id="{B4E66A5B-5939-4A7B-A598-85C16654FFED}"/>
              </a:ext>
            </a:extLst>
          </p:cNvPr>
          <p:cNvGraphicFramePr>
            <a:graphicFrameLocks noGrp="1"/>
          </p:cNvGraphicFramePr>
          <p:nvPr>
            <p:extLst>
              <p:ext uri="{D42A27DB-BD31-4B8C-83A1-F6EECF244321}">
                <p14:modId xmlns:p14="http://schemas.microsoft.com/office/powerpoint/2010/main" val="3232100678"/>
              </p:ext>
            </p:extLst>
          </p:nvPr>
        </p:nvGraphicFramePr>
        <p:xfrm>
          <a:off x="1565275" y="2103120"/>
          <a:ext cx="8128000" cy="265176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362756606"/>
                    </a:ext>
                  </a:extLst>
                </a:gridCol>
                <a:gridCol w="4064000">
                  <a:extLst>
                    <a:ext uri="{9D8B030D-6E8A-4147-A177-3AD203B41FA5}">
                      <a16:colId xmlns:a16="http://schemas.microsoft.com/office/drawing/2014/main" val="2949448551"/>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Calibri"/>
                        </a:rPr>
                        <a:t>From the VSSC:</a:t>
                      </a:r>
                      <a:endParaRPr lang="en-US">
                        <a:ea typeface="+mn-lt"/>
                        <a:cs typeface="+mn-lt"/>
                      </a:endParaRPr>
                    </a:p>
                    <a:p>
                      <a:endParaRPr lang="en-US"/>
                    </a:p>
                  </a:txBody>
                  <a:tcPr/>
                </a:tc>
                <a:tc>
                  <a:txBody>
                    <a:bodyPr/>
                    <a:lstStyle/>
                    <a:p>
                      <a:r>
                        <a:rPr lang="en-US" b="1">
                          <a:cs typeface="Calibri"/>
                        </a:rPr>
                        <a:t>From your Budget (Fiscal) Office: </a:t>
                      </a:r>
                      <a:endParaRPr lang="en-US"/>
                    </a:p>
                  </a:txBody>
                  <a:tcPr/>
                </a:tc>
                <a:extLst>
                  <a:ext uri="{0D108BD9-81ED-4DB2-BD59-A6C34878D82A}">
                    <a16:rowId xmlns:a16="http://schemas.microsoft.com/office/drawing/2014/main" val="2709232469"/>
                  </a:ext>
                </a:extLst>
              </a:tr>
              <a:tr h="370840">
                <a:tc>
                  <a:txBody>
                    <a:bodyPr/>
                    <a:lstStyle/>
                    <a:p>
                      <a:pPr marL="283464" lvl="2" indent="-285750">
                        <a:buFont typeface="Arial" panose="020B0604020202020204" pitchFamily="34" charset="0"/>
                        <a:buChar char="•"/>
                      </a:pPr>
                      <a:r>
                        <a:rPr lang="en-US">
                          <a:ea typeface="+mn-lt"/>
                          <a:cs typeface="+mn-lt"/>
                        </a:rPr>
                        <a:t>VSSC Link: </a:t>
                      </a:r>
                      <a:r>
                        <a:rPr lang="fr-FR">
                          <a:ea typeface="+mn-lt"/>
                          <a:cs typeface="+mn-lt"/>
                          <a:hlinkClick r:id="rId2"/>
                        </a:rPr>
                        <a:t>VSSC - VHA Support Service Center </a:t>
                      </a:r>
                      <a:endParaRPr lang="en-US">
                        <a:ea typeface="+mn-lt"/>
                        <a:cs typeface="+mn-lt"/>
                      </a:endParaRPr>
                    </a:p>
                    <a:p>
                      <a:pPr marL="283464" lvl="2" indent="-285750">
                        <a:buFont typeface="Arial" panose="020B0604020202020204" pitchFamily="34" charset="0"/>
                        <a:buChar char="•"/>
                      </a:pPr>
                      <a:r>
                        <a:rPr lang="en-US">
                          <a:ea typeface="+mn-lt"/>
                          <a:cs typeface="+mn-lt"/>
                        </a:rPr>
                        <a:t>SOA Link: </a:t>
                      </a:r>
                      <a:r>
                        <a:rPr lang="en-US">
                          <a:ea typeface="+mn-lt"/>
                          <a:cs typeface="+mn-lt"/>
                          <a:hlinkClick r:id="rId3"/>
                        </a:rPr>
                        <a:t>SOACreateRpt - Report Viewer </a:t>
                      </a:r>
                      <a:endParaRPr lang="en-US">
                        <a:cs typeface="Calibri"/>
                      </a:endParaRPr>
                    </a:p>
                    <a:p>
                      <a:pPr lvl="1"/>
                      <a:endParaRPr lang="en-US">
                        <a:cs typeface="Calibri"/>
                      </a:endParaRPr>
                    </a:p>
                    <a:p>
                      <a:pPr lvl="1"/>
                      <a:endParaRPr lang="en-US">
                        <a:cs typeface="Calibri"/>
                      </a:endParaRPr>
                    </a:p>
                    <a:p>
                      <a:endParaRPr lang="en-US"/>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cs typeface="Calibri"/>
                        </a:rPr>
                        <a:t>Your Budget Office can provide you with the SOA. Some sites have set-up SharePoint or shared folders for the SOA to be placed in daily. Others request the SOA via e-mail as needed.</a:t>
                      </a:r>
                    </a:p>
                    <a:p>
                      <a:endParaRPr lang="en-US"/>
                    </a:p>
                  </a:txBody>
                  <a:tcPr/>
                </a:tc>
                <a:extLst>
                  <a:ext uri="{0D108BD9-81ED-4DB2-BD59-A6C34878D82A}">
                    <a16:rowId xmlns:a16="http://schemas.microsoft.com/office/drawing/2014/main" val="4009086896"/>
                  </a:ext>
                </a:extLst>
              </a:tr>
            </a:tbl>
          </a:graphicData>
        </a:graphic>
      </p:graphicFrame>
    </p:spTree>
    <p:extLst>
      <p:ext uri="{BB962C8B-B14F-4D97-AF65-F5344CB8AC3E}">
        <p14:creationId xmlns:p14="http://schemas.microsoft.com/office/powerpoint/2010/main" val="34013144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ED66A-88CE-1365-F625-0493AEB395A0}"/>
              </a:ext>
            </a:extLst>
          </p:cNvPr>
          <p:cNvSpPr>
            <a:spLocks noGrp="1"/>
          </p:cNvSpPr>
          <p:nvPr>
            <p:ph type="title"/>
          </p:nvPr>
        </p:nvSpPr>
        <p:spPr/>
        <p:txBody>
          <a:bodyPr/>
          <a:lstStyle/>
          <a:p>
            <a:r>
              <a:rPr lang="en-US">
                <a:cs typeface="Calibri Light"/>
              </a:rPr>
              <a:t>Section 2: What are the differences in VSSC and Budget?</a:t>
            </a:r>
            <a:endParaRPr lang="en-US"/>
          </a:p>
        </p:txBody>
      </p:sp>
      <p:sp>
        <p:nvSpPr>
          <p:cNvPr id="4" name="Date Placeholder 3">
            <a:extLst>
              <a:ext uri="{FF2B5EF4-FFF2-40B4-BE49-F238E27FC236}">
                <a16:creationId xmlns:a16="http://schemas.microsoft.com/office/drawing/2014/main" id="{43829CBB-ABD5-EFC3-81E3-4A6A2391C16C}"/>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D009E60E-CC6D-5BC6-8275-D48F55C9FA67}"/>
              </a:ext>
            </a:extLst>
          </p:cNvPr>
          <p:cNvSpPr>
            <a:spLocks noGrp="1"/>
          </p:cNvSpPr>
          <p:nvPr>
            <p:ph type="sldNum" sz="quarter" idx="12"/>
          </p:nvPr>
        </p:nvSpPr>
        <p:spPr/>
        <p:txBody>
          <a:bodyPr/>
          <a:lstStyle/>
          <a:p>
            <a:fld id="{670A9334-4E67-F94F-A05E-0CE8B74A054E}" type="slidenum">
              <a:rPr lang="en-US" smtClean="0"/>
              <a:t>15</a:t>
            </a:fld>
            <a:endParaRPr lang="en-US"/>
          </a:p>
        </p:txBody>
      </p:sp>
      <p:graphicFrame>
        <p:nvGraphicFramePr>
          <p:cNvPr id="6" name="Table 6">
            <a:extLst>
              <a:ext uri="{FF2B5EF4-FFF2-40B4-BE49-F238E27FC236}">
                <a16:creationId xmlns:a16="http://schemas.microsoft.com/office/drawing/2014/main" id="{C143995F-68D5-4B1E-BDFC-D6065CE5B723}"/>
              </a:ext>
            </a:extLst>
          </p:cNvPr>
          <p:cNvGraphicFramePr>
            <a:graphicFrameLocks noGrp="1"/>
          </p:cNvGraphicFramePr>
          <p:nvPr>
            <p:extLst>
              <p:ext uri="{D42A27DB-BD31-4B8C-83A1-F6EECF244321}">
                <p14:modId xmlns:p14="http://schemas.microsoft.com/office/powerpoint/2010/main" val="576151244"/>
              </p:ext>
            </p:extLst>
          </p:nvPr>
        </p:nvGraphicFramePr>
        <p:xfrm>
          <a:off x="1958109" y="1068770"/>
          <a:ext cx="7995010" cy="4724400"/>
        </p:xfrm>
        <a:graphic>
          <a:graphicData uri="http://schemas.openxmlformats.org/drawingml/2006/table">
            <a:tbl>
              <a:tblPr firstRow="1" bandRow="1">
                <a:tableStyleId>{5C22544A-7EE6-4342-B048-85BDC9FD1C3A}</a:tableStyleId>
              </a:tblPr>
              <a:tblGrid>
                <a:gridCol w="3997505">
                  <a:extLst>
                    <a:ext uri="{9D8B030D-6E8A-4147-A177-3AD203B41FA5}">
                      <a16:colId xmlns:a16="http://schemas.microsoft.com/office/drawing/2014/main" val="4109974152"/>
                    </a:ext>
                  </a:extLst>
                </a:gridCol>
                <a:gridCol w="3997505">
                  <a:extLst>
                    <a:ext uri="{9D8B030D-6E8A-4147-A177-3AD203B41FA5}">
                      <a16:colId xmlns:a16="http://schemas.microsoft.com/office/drawing/2014/main" val="1462523809"/>
                    </a:ext>
                  </a:extLst>
                </a:gridCol>
              </a:tblGrid>
              <a:tr h="247128">
                <a:tc>
                  <a:txBody>
                    <a:bodyPr/>
                    <a:lstStyle/>
                    <a:p>
                      <a:r>
                        <a:rPr lang="en-US"/>
                        <a:t>VSSC</a:t>
                      </a:r>
                    </a:p>
                  </a:txBody>
                  <a:tcPr/>
                </a:tc>
                <a:tc>
                  <a:txBody>
                    <a:bodyPr/>
                    <a:lstStyle/>
                    <a:p>
                      <a:r>
                        <a:rPr lang="en-US"/>
                        <a:t>Budget Office/FISCAL</a:t>
                      </a:r>
                    </a:p>
                  </a:txBody>
                  <a:tcPr/>
                </a:tc>
                <a:extLst>
                  <a:ext uri="{0D108BD9-81ED-4DB2-BD59-A6C34878D82A}">
                    <a16:rowId xmlns:a16="http://schemas.microsoft.com/office/drawing/2014/main" val="1904914549"/>
                  </a:ext>
                </a:extLst>
              </a:tr>
              <a:tr h="370840">
                <a:tc>
                  <a:txBody>
                    <a:bodyPr/>
                    <a:lstStyle/>
                    <a:p>
                      <a:pPr marL="283464" lvl="1" indent="-285750">
                        <a:buFont typeface="Arial" panose="020B0604020202020204" pitchFamily="34" charset="0"/>
                        <a:buChar char="•"/>
                      </a:pPr>
                      <a:r>
                        <a:rPr lang="en-US" sz="2000">
                          <a:cs typeface="Calibri"/>
                        </a:rPr>
                        <a:t>Will only show FMS data. It will not show any funds that are committed but not obligated. </a:t>
                      </a:r>
                      <a:r>
                        <a:rPr lang="en-US" sz="2000">
                          <a:ea typeface="+mn-lt"/>
                          <a:cs typeface="+mn-lt"/>
                        </a:rPr>
                        <a:t>Remember: Committed funds include contracts not yet awarded and obligated, 1358 transactions not yet obligated by Fiscal and purchase card transactions that have not been reconciled.</a:t>
                      </a:r>
                    </a:p>
                    <a:p>
                      <a:pPr marL="283464" lvl="1" indent="-285750">
                        <a:buFont typeface="Arial" panose="020B0604020202020204" pitchFamily="34" charset="0"/>
                        <a:buChar char="•"/>
                      </a:pPr>
                      <a:r>
                        <a:rPr lang="en-US" sz="2000">
                          <a:cs typeface="Calibri"/>
                        </a:rPr>
                        <a:t>Will only show the ACC number assigned to the FCP. It will not have the FCP number.</a:t>
                      </a:r>
                      <a:endParaRPr lang="en-US" sz="2000">
                        <a:ea typeface="Calibri"/>
                        <a:cs typeface="Calibri"/>
                      </a:endParaRPr>
                    </a:p>
                    <a:p>
                      <a:endParaRPr lang="en-US" sz="2000"/>
                    </a:p>
                  </a:txBody>
                  <a:tcPr/>
                </a:tc>
                <a:tc>
                  <a:txBody>
                    <a:bodyPr/>
                    <a:lstStyle/>
                    <a:p>
                      <a:pPr marL="283464" lvl="1" indent="-285750">
                        <a:buFont typeface="Arial" panose="020B0604020202020204" pitchFamily="34" charset="0"/>
                        <a:buChar char="•"/>
                      </a:pPr>
                      <a:r>
                        <a:rPr lang="en-US" sz="2000">
                          <a:cs typeface="Calibri"/>
                        </a:rPr>
                        <a:t>Should show the committed (IFCAP pending) amounts if your Fiscal balances to IFCAP. This will only be for the quarter that you are in and will not show committed items for future quarters.</a:t>
                      </a:r>
                    </a:p>
                    <a:p>
                      <a:pPr marL="283464" lvl="1" indent="-285750">
                        <a:buFont typeface="Arial" panose="020B0604020202020204" pitchFamily="34" charset="0"/>
                        <a:buChar char="•"/>
                      </a:pPr>
                      <a:r>
                        <a:rPr lang="en-US" sz="2000">
                          <a:cs typeface="Calibri"/>
                        </a:rPr>
                        <a:t>It will also show the FCP numbers.</a:t>
                      </a:r>
                      <a:endParaRPr lang="en-US" sz="2000">
                        <a:ea typeface="Calibri" panose="020F0502020204030204"/>
                        <a:cs typeface="Calibri" panose="020F0502020204030204"/>
                      </a:endParaRPr>
                    </a:p>
                  </a:txBody>
                  <a:tcPr/>
                </a:tc>
                <a:extLst>
                  <a:ext uri="{0D108BD9-81ED-4DB2-BD59-A6C34878D82A}">
                    <a16:rowId xmlns:a16="http://schemas.microsoft.com/office/drawing/2014/main" val="1902209341"/>
                  </a:ext>
                </a:extLst>
              </a:tr>
            </a:tbl>
          </a:graphicData>
        </a:graphic>
      </p:graphicFrame>
    </p:spTree>
    <p:extLst>
      <p:ext uri="{BB962C8B-B14F-4D97-AF65-F5344CB8AC3E}">
        <p14:creationId xmlns:p14="http://schemas.microsoft.com/office/powerpoint/2010/main" val="23662231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27C8C-64C0-1023-9AC0-F25B40EEB4FD}"/>
              </a:ext>
            </a:extLst>
          </p:cNvPr>
          <p:cNvSpPr>
            <a:spLocks noGrp="1"/>
          </p:cNvSpPr>
          <p:nvPr>
            <p:ph type="title"/>
          </p:nvPr>
        </p:nvSpPr>
        <p:spPr/>
        <p:txBody>
          <a:bodyPr/>
          <a:lstStyle/>
          <a:p>
            <a:r>
              <a:rPr lang="en-US">
                <a:cs typeface="Calibri Light"/>
              </a:rPr>
              <a:t>Section 2: Using VSSC </a:t>
            </a:r>
            <a:endParaRPr lang="en-US"/>
          </a:p>
        </p:txBody>
      </p:sp>
      <p:pic>
        <p:nvPicPr>
          <p:cNvPr id="6" name="Picture 6">
            <a:extLst>
              <a:ext uri="{FF2B5EF4-FFF2-40B4-BE49-F238E27FC236}">
                <a16:creationId xmlns:a16="http://schemas.microsoft.com/office/drawing/2014/main" id="{C1E5369C-C4C0-80C8-3CC4-C3C8D43768C7}"/>
              </a:ext>
            </a:extLst>
          </p:cNvPr>
          <p:cNvPicPr>
            <a:picLocks noGrp="1" noChangeAspect="1"/>
          </p:cNvPicPr>
          <p:nvPr>
            <p:ph idx="1"/>
          </p:nvPr>
        </p:nvPicPr>
        <p:blipFill>
          <a:blip r:embed="rId2"/>
          <a:stretch>
            <a:fillRect/>
          </a:stretch>
        </p:blipFill>
        <p:spPr>
          <a:xfrm>
            <a:off x="3253004" y="1253331"/>
            <a:ext cx="5685992" cy="4351338"/>
          </a:xfrm>
          <a:ln w="38100">
            <a:solidFill>
              <a:schemeClr val="accent1"/>
            </a:solidFill>
          </a:ln>
        </p:spPr>
      </p:pic>
      <p:sp>
        <p:nvSpPr>
          <p:cNvPr id="4" name="Date Placeholder 3">
            <a:extLst>
              <a:ext uri="{FF2B5EF4-FFF2-40B4-BE49-F238E27FC236}">
                <a16:creationId xmlns:a16="http://schemas.microsoft.com/office/drawing/2014/main" id="{BBA492CE-9F04-5DEE-D797-AAE9BA3C6E0B}"/>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637B5B9C-DA7A-2018-2818-F7E07B5249B1}"/>
              </a:ext>
            </a:extLst>
          </p:cNvPr>
          <p:cNvSpPr>
            <a:spLocks noGrp="1"/>
          </p:cNvSpPr>
          <p:nvPr>
            <p:ph type="sldNum" sz="quarter" idx="12"/>
          </p:nvPr>
        </p:nvSpPr>
        <p:spPr/>
        <p:txBody>
          <a:bodyPr/>
          <a:lstStyle/>
          <a:p>
            <a:fld id="{670A9334-4E67-F94F-A05E-0CE8B74A054E}" type="slidenum">
              <a:rPr lang="en-US" smtClean="0"/>
              <a:t>16</a:t>
            </a:fld>
            <a:endParaRPr lang="en-US"/>
          </a:p>
        </p:txBody>
      </p:sp>
    </p:spTree>
    <p:extLst>
      <p:ext uri="{BB962C8B-B14F-4D97-AF65-F5344CB8AC3E}">
        <p14:creationId xmlns:p14="http://schemas.microsoft.com/office/powerpoint/2010/main" val="11764250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A52D60-47DE-053B-7799-5D0C8477AC1D}"/>
              </a:ext>
            </a:extLst>
          </p:cNvPr>
          <p:cNvSpPr>
            <a:spLocks noGrp="1"/>
          </p:cNvSpPr>
          <p:nvPr>
            <p:ph type="title"/>
          </p:nvPr>
        </p:nvSpPr>
        <p:spPr/>
        <p:txBody>
          <a:bodyPr/>
          <a:lstStyle/>
          <a:p>
            <a:r>
              <a:rPr lang="en-US">
                <a:ea typeface="+mj-lt"/>
                <a:cs typeface="+mj-lt"/>
              </a:rPr>
              <a:t>Section 2: Using VSSC</a:t>
            </a:r>
          </a:p>
        </p:txBody>
      </p:sp>
      <p:sp>
        <p:nvSpPr>
          <p:cNvPr id="4" name="Date Placeholder 3">
            <a:extLst>
              <a:ext uri="{FF2B5EF4-FFF2-40B4-BE49-F238E27FC236}">
                <a16:creationId xmlns:a16="http://schemas.microsoft.com/office/drawing/2014/main" id="{467DE006-4D52-DA4F-81E6-9D6E44DA1776}"/>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4365CFED-4B0E-6EBF-6367-8730F6FB0C3A}"/>
              </a:ext>
            </a:extLst>
          </p:cNvPr>
          <p:cNvSpPr>
            <a:spLocks noGrp="1"/>
          </p:cNvSpPr>
          <p:nvPr>
            <p:ph type="sldNum" sz="quarter" idx="12"/>
          </p:nvPr>
        </p:nvSpPr>
        <p:spPr/>
        <p:txBody>
          <a:bodyPr/>
          <a:lstStyle/>
          <a:p>
            <a:fld id="{670A9334-4E67-F94F-A05E-0CE8B74A054E}" type="slidenum">
              <a:rPr lang="en-US" smtClean="0"/>
              <a:t>17</a:t>
            </a:fld>
            <a:endParaRPr lang="en-US"/>
          </a:p>
        </p:txBody>
      </p:sp>
      <p:pic>
        <p:nvPicPr>
          <p:cNvPr id="10" name="Picture 10">
            <a:extLst>
              <a:ext uri="{FF2B5EF4-FFF2-40B4-BE49-F238E27FC236}">
                <a16:creationId xmlns:a16="http://schemas.microsoft.com/office/drawing/2014/main" id="{E4F23683-BE53-3426-9803-41BDC2E4CB08}"/>
              </a:ext>
            </a:extLst>
          </p:cNvPr>
          <p:cNvPicPr>
            <a:picLocks noGrp="1" noChangeAspect="1"/>
          </p:cNvPicPr>
          <p:nvPr>
            <p:ph idx="1"/>
          </p:nvPr>
        </p:nvPicPr>
        <p:blipFill>
          <a:blip r:embed="rId2"/>
          <a:stretch>
            <a:fillRect/>
          </a:stretch>
        </p:blipFill>
        <p:spPr>
          <a:xfrm>
            <a:off x="1568659" y="1054773"/>
            <a:ext cx="8648700" cy="3190875"/>
          </a:xfrm>
          <a:ln w="38100">
            <a:solidFill>
              <a:schemeClr val="accent1"/>
            </a:solidFill>
          </a:ln>
        </p:spPr>
      </p:pic>
      <p:graphicFrame>
        <p:nvGraphicFramePr>
          <p:cNvPr id="6" name="Table 6">
            <a:extLst>
              <a:ext uri="{FF2B5EF4-FFF2-40B4-BE49-F238E27FC236}">
                <a16:creationId xmlns:a16="http://schemas.microsoft.com/office/drawing/2014/main" id="{E9E9C249-6C53-4241-B2CB-B6EE67B99201}"/>
              </a:ext>
            </a:extLst>
          </p:cNvPr>
          <p:cNvGraphicFramePr>
            <a:graphicFrameLocks noGrp="1"/>
          </p:cNvGraphicFramePr>
          <p:nvPr>
            <p:extLst>
              <p:ext uri="{D42A27DB-BD31-4B8C-83A1-F6EECF244321}">
                <p14:modId xmlns:p14="http://schemas.microsoft.com/office/powerpoint/2010/main" val="2700183798"/>
              </p:ext>
            </p:extLst>
          </p:nvPr>
        </p:nvGraphicFramePr>
        <p:xfrm>
          <a:off x="620560" y="3486747"/>
          <a:ext cx="5152820" cy="2316480"/>
        </p:xfrm>
        <a:graphic>
          <a:graphicData uri="http://schemas.openxmlformats.org/drawingml/2006/table">
            <a:tbl>
              <a:tblPr firstRow="1" bandRow="1">
                <a:tableStyleId>{5C22544A-7EE6-4342-B048-85BDC9FD1C3A}</a:tableStyleId>
              </a:tblPr>
              <a:tblGrid>
                <a:gridCol w="5152820">
                  <a:extLst>
                    <a:ext uri="{9D8B030D-6E8A-4147-A177-3AD203B41FA5}">
                      <a16:colId xmlns:a16="http://schemas.microsoft.com/office/drawing/2014/main" val="1985512441"/>
                    </a:ext>
                  </a:extLst>
                </a:gridCol>
              </a:tblGrid>
              <a:tr h="0">
                <a:tc>
                  <a:txBody>
                    <a:bodyPr/>
                    <a:lstStyle/>
                    <a:p>
                      <a:r>
                        <a:rPr lang="en-US" sz="2000">
                          <a:ea typeface="+mn-lt"/>
                          <a:cs typeface="+mn-lt"/>
                        </a:rPr>
                        <a:t>To view entire SOA for Research appropriation</a:t>
                      </a:r>
                      <a:endParaRPr lang="en-US" sz="2000"/>
                    </a:p>
                  </a:txBody>
                  <a:tcPr/>
                </a:tc>
                <a:extLst>
                  <a:ext uri="{0D108BD9-81ED-4DB2-BD59-A6C34878D82A}">
                    <a16:rowId xmlns:a16="http://schemas.microsoft.com/office/drawing/2014/main" val="1676054144"/>
                  </a:ext>
                </a:extLst>
              </a:tr>
              <a:tr h="185325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a:ea typeface="+mn-lt"/>
                          <a:cs typeface="+mn-lt"/>
                        </a:rPr>
                        <a:t>You will want to select "Select All" for Select BFY, Select Program Code, Select ACC No, and Break out separately by. You can narrow it down by program and ACC code if you want to view only that specific information.</a:t>
                      </a:r>
                      <a:endParaRPr lang="en-US" sz="2000"/>
                    </a:p>
                    <a:p>
                      <a:endParaRPr lang="en-US" sz="2000"/>
                    </a:p>
                  </a:txBody>
                  <a:tcPr/>
                </a:tc>
                <a:extLst>
                  <a:ext uri="{0D108BD9-81ED-4DB2-BD59-A6C34878D82A}">
                    <a16:rowId xmlns:a16="http://schemas.microsoft.com/office/drawing/2014/main" val="3951915660"/>
                  </a:ext>
                </a:extLst>
              </a:tr>
            </a:tbl>
          </a:graphicData>
        </a:graphic>
      </p:graphicFrame>
    </p:spTree>
    <p:extLst>
      <p:ext uri="{BB962C8B-B14F-4D97-AF65-F5344CB8AC3E}">
        <p14:creationId xmlns:p14="http://schemas.microsoft.com/office/powerpoint/2010/main" val="32473587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20702-21DA-5C7C-047C-E5048105E213}"/>
              </a:ext>
            </a:extLst>
          </p:cNvPr>
          <p:cNvSpPr>
            <a:spLocks noGrp="1"/>
          </p:cNvSpPr>
          <p:nvPr>
            <p:ph type="title"/>
          </p:nvPr>
        </p:nvSpPr>
        <p:spPr/>
        <p:txBody>
          <a:bodyPr/>
          <a:lstStyle/>
          <a:p>
            <a:r>
              <a:rPr lang="en-US">
                <a:ea typeface="Calibri Light"/>
                <a:cs typeface="Calibri Light"/>
              </a:rPr>
              <a:t>Section 2: Using VSSC</a:t>
            </a:r>
            <a:endParaRPr lang="en-US" b="0">
              <a:ea typeface="+mj-lt"/>
              <a:cs typeface="+mj-lt"/>
            </a:endParaRPr>
          </a:p>
        </p:txBody>
      </p:sp>
      <p:sp>
        <p:nvSpPr>
          <p:cNvPr id="4" name="Date Placeholder 3">
            <a:extLst>
              <a:ext uri="{FF2B5EF4-FFF2-40B4-BE49-F238E27FC236}">
                <a16:creationId xmlns:a16="http://schemas.microsoft.com/office/drawing/2014/main" id="{A3FB31A5-7079-42B3-25D7-588E137FBE96}"/>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DE2F13EB-DD73-1015-C609-61296315E14B}"/>
              </a:ext>
            </a:extLst>
          </p:cNvPr>
          <p:cNvSpPr>
            <a:spLocks noGrp="1"/>
          </p:cNvSpPr>
          <p:nvPr>
            <p:ph type="sldNum" sz="quarter" idx="12"/>
          </p:nvPr>
        </p:nvSpPr>
        <p:spPr/>
        <p:txBody>
          <a:bodyPr/>
          <a:lstStyle/>
          <a:p>
            <a:fld id="{670A9334-4E67-F94F-A05E-0CE8B74A054E}" type="slidenum">
              <a:rPr lang="en-US" smtClean="0"/>
              <a:t>18</a:t>
            </a:fld>
            <a:endParaRPr lang="en-US"/>
          </a:p>
        </p:txBody>
      </p:sp>
      <p:pic>
        <p:nvPicPr>
          <p:cNvPr id="6" name="Picture 6">
            <a:extLst>
              <a:ext uri="{FF2B5EF4-FFF2-40B4-BE49-F238E27FC236}">
                <a16:creationId xmlns:a16="http://schemas.microsoft.com/office/drawing/2014/main" id="{E8024880-95B6-7C3C-0CD2-723E8B5B8FF5}"/>
              </a:ext>
            </a:extLst>
          </p:cNvPr>
          <p:cNvPicPr>
            <a:picLocks noChangeAspect="1"/>
          </p:cNvPicPr>
          <p:nvPr/>
        </p:nvPicPr>
        <p:blipFill>
          <a:blip r:embed="rId2"/>
          <a:stretch>
            <a:fillRect/>
          </a:stretch>
        </p:blipFill>
        <p:spPr>
          <a:xfrm>
            <a:off x="3854385" y="1258879"/>
            <a:ext cx="7499415" cy="2974073"/>
          </a:xfrm>
          <a:prstGeom prst="rect">
            <a:avLst/>
          </a:prstGeom>
          <a:ln w="38100">
            <a:solidFill>
              <a:schemeClr val="accent1"/>
            </a:solidFill>
          </a:ln>
        </p:spPr>
      </p:pic>
      <p:cxnSp>
        <p:nvCxnSpPr>
          <p:cNvPr id="7" name="Straight Arrow Connector 6">
            <a:extLst>
              <a:ext uri="{FF2B5EF4-FFF2-40B4-BE49-F238E27FC236}">
                <a16:creationId xmlns:a16="http://schemas.microsoft.com/office/drawing/2014/main" id="{E607661B-F550-D286-296F-9ACC54F4EB0B}"/>
              </a:ext>
            </a:extLst>
          </p:cNvPr>
          <p:cNvCxnSpPr>
            <a:cxnSpLocks/>
          </p:cNvCxnSpPr>
          <p:nvPr/>
        </p:nvCxnSpPr>
        <p:spPr>
          <a:xfrm flipV="1">
            <a:off x="3355450" y="2321960"/>
            <a:ext cx="4093314" cy="2027403"/>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 name="Table 6">
            <a:extLst>
              <a:ext uri="{FF2B5EF4-FFF2-40B4-BE49-F238E27FC236}">
                <a16:creationId xmlns:a16="http://schemas.microsoft.com/office/drawing/2014/main" id="{A7C47878-AA89-4E7B-948F-187459CC1504}"/>
              </a:ext>
            </a:extLst>
          </p:cNvPr>
          <p:cNvGraphicFramePr>
            <a:graphicFrameLocks noGrp="1"/>
          </p:cNvGraphicFramePr>
          <p:nvPr>
            <p:extLst>
              <p:ext uri="{D42A27DB-BD31-4B8C-83A1-F6EECF244321}">
                <p14:modId xmlns:p14="http://schemas.microsoft.com/office/powerpoint/2010/main" val="528569386"/>
              </p:ext>
            </p:extLst>
          </p:nvPr>
        </p:nvGraphicFramePr>
        <p:xfrm>
          <a:off x="584824" y="3196603"/>
          <a:ext cx="2876764" cy="2427521"/>
        </p:xfrm>
        <a:graphic>
          <a:graphicData uri="http://schemas.openxmlformats.org/drawingml/2006/table">
            <a:tbl>
              <a:tblPr firstRow="1" bandRow="1">
                <a:tableStyleId>{5C22544A-7EE6-4342-B048-85BDC9FD1C3A}</a:tableStyleId>
              </a:tblPr>
              <a:tblGrid>
                <a:gridCol w="2876764">
                  <a:extLst>
                    <a:ext uri="{9D8B030D-6E8A-4147-A177-3AD203B41FA5}">
                      <a16:colId xmlns:a16="http://schemas.microsoft.com/office/drawing/2014/main" val="1985512441"/>
                    </a:ext>
                  </a:extLst>
                </a:gridCol>
              </a:tblGrid>
              <a:tr h="873303">
                <a:tc>
                  <a:txBody>
                    <a:bodyPr/>
                    <a:lstStyle/>
                    <a:p>
                      <a:r>
                        <a:rPr lang="en-US" sz="2000">
                          <a:ea typeface="Calibri"/>
                          <a:cs typeface="Calibri"/>
                        </a:rPr>
                        <a:t>The report will show a breakdown by Program. </a:t>
                      </a:r>
                      <a:endParaRPr lang="en-US" sz="2000"/>
                    </a:p>
                  </a:txBody>
                  <a:tcPr/>
                </a:tc>
                <a:extLst>
                  <a:ext uri="{0D108BD9-81ED-4DB2-BD59-A6C34878D82A}">
                    <a16:rowId xmlns:a16="http://schemas.microsoft.com/office/drawing/2014/main" val="1676054144"/>
                  </a:ext>
                </a:extLst>
              </a:tr>
              <a:tr h="1554218">
                <a:tc>
                  <a:txBody>
                    <a:bodyPr/>
                    <a:lstStyle/>
                    <a:p>
                      <a:r>
                        <a:rPr lang="en-US" sz="2000">
                          <a:ea typeface="Calibri"/>
                          <a:cs typeface="Calibri"/>
                        </a:rPr>
                        <a:t>To see a breakdown by FCP, click on the plus sign next to 0161A1.</a:t>
                      </a:r>
                      <a:endParaRPr lang="en-US" sz="2000"/>
                    </a:p>
                  </a:txBody>
                  <a:tcPr/>
                </a:tc>
                <a:extLst>
                  <a:ext uri="{0D108BD9-81ED-4DB2-BD59-A6C34878D82A}">
                    <a16:rowId xmlns:a16="http://schemas.microsoft.com/office/drawing/2014/main" val="3951915660"/>
                  </a:ext>
                </a:extLst>
              </a:tr>
            </a:tbl>
          </a:graphicData>
        </a:graphic>
      </p:graphicFrame>
    </p:spTree>
    <p:extLst>
      <p:ext uri="{BB962C8B-B14F-4D97-AF65-F5344CB8AC3E}">
        <p14:creationId xmlns:p14="http://schemas.microsoft.com/office/powerpoint/2010/main" val="4221017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FB8DAA-AF2E-ADAD-136E-ED8073714ABB}"/>
              </a:ext>
            </a:extLst>
          </p:cNvPr>
          <p:cNvSpPr>
            <a:spLocks noGrp="1"/>
          </p:cNvSpPr>
          <p:nvPr>
            <p:ph type="title"/>
          </p:nvPr>
        </p:nvSpPr>
        <p:spPr/>
        <p:txBody>
          <a:bodyPr/>
          <a:lstStyle/>
          <a:p>
            <a:r>
              <a:rPr lang="en-US">
                <a:ea typeface="Calibri Light"/>
                <a:cs typeface="Calibri Light"/>
              </a:rPr>
              <a:t>Section 2: Using VSSC</a:t>
            </a:r>
            <a:endParaRPr lang="en-US" b="0">
              <a:ea typeface="+mj-lt"/>
              <a:cs typeface="+mj-lt"/>
            </a:endParaRPr>
          </a:p>
        </p:txBody>
      </p:sp>
      <p:pic>
        <p:nvPicPr>
          <p:cNvPr id="6" name="Picture 6">
            <a:extLst>
              <a:ext uri="{FF2B5EF4-FFF2-40B4-BE49-F238E27FC236}">
                <a16:creationId xmlns:a16="http://schemas.microsoft.com/office/drawing/2014/main" id="{CBE04821-82ED-E7BA-0B1F-4ACC94415FA2}"/>
              </a:ext>
            </a:extLst>
          </p:cNvPr>
          <p:cNvPicPr>
            <a:picLocks noGrp="1" noChangeAspect="1"/>
          </p:cNvPicPr>
          <p:nvPr>
            <p:ph idx="1"/>
          </p:nvPr>
        </p:nvPicPr>
        <p:blipFill>
          <a:blip r:embed="rId2"/>
          <a:stretch>
            <a:fillRect/>
          </a:stretch>
        </p:blipFill>
        <p:spPr>
          <a:xfrm>
            <a:off x="2917371" y="1253331"/>
            <a:ext cx="7301513" cy="4351338"/>
          </a:xfrm>
          <a:ln w="38100">
            <a:solidFill>
              <a:schemeClr val="accent1"/>
            </a:solidFill>
          </a:ln>
        </p:spPr>
      </p:pic>
      <p:sp>
        <p:nvSpPr>
          <p:cNvPr id="4" name="Date Placeholder 3">
            <a:extLst>
              <a:ext uri="{FF2B5EF4-FFF2-40B4-BE49-F238E27FC236}">
                <a16:creationId xmlns:a16="http://schemas.microsoft.com/office/drawing/2014/main" id="{196A52C2-411F-19C7-A8EB-43947E263DC7}"/>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D2B5B8B3-B6BC-B107-CDA4-B3DD2585D048}"/>
              </a:ext>
            </a:extLst>
          </p:cNvPr>
          <p:cNvSpPr>
            <a:spLocks noGrp="1"/>
          </p:cNvSpPr>
          <p:nvPr>
            <p:ph type="sldNum" sz="quarter" idx="12"/>
          </p:nvPr>
        </p:nvSpPr>
        <p:spPr/>
        <p:txBody>
          <a:bodyPr/>
          <a:lstStyle/>
          <a:p>
            <a:fld id="{670A9334-4E67-F94F-A05E-0CE8B74A054E}" type="slidenum">
              <a:rPr lang="en-US" smtClean="0"/>
              <a:t>19</a:t>
            </a:fld>
            <a:endParaRPr lang="en-US"/>
          </a:p>
        </p:txBody>
      </p:sp>
      <p:sp>
        <p:nvSpPr>
          <p:cNvPr id="7" name="TextBox 6">
            <a:extLst>
              <a:ext uri="{FF2B5EF4-FFF2-40B4-BE49-F238E27FC236}">
                <a16:creationId xmlns:a16="http://schemas.microsoft.com/office/drawing/2014/main" id="{D8E7D82A-E7EA-CF2E-162D-D31199FA4A13}"/>
              </a:ext>
            </a:extLst>
          </p:cNvPr>
          <p:cNvSpPr txBox="1"/>
          <p:nvPr/>
        </p:nvSpPr>
        <p:spPr>
          <a:xfrm>
            <a:off x="464457" y="1436914"/>
            <a:ext cx="245291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ea typeface="Calibri"/>
              <a:cs typeface="Calibri"/>
            </a:endParaRPr>
          </a:p>
        </p:txBody>
      </p:sp>
      <p:cxnSp>
        <p:nvCxnSpPr>
          <p:cNvPr id="9" name="Straight Arrow Connector 8">
            <a:extLst>
              <a:ext uri="{FF2B5EF4-FFF2-40B4-BE49-F238E27FC236}">
                <a16:creationId xmlns:a16="http://schemas.microsoft.com/office/drawing/2014/main" id="{DE3C7329-FBA1-F726-1AC8-596CC94E3A26}"/>
              </a:ext>
            </a:extLst>
          </p:cNvPr>
          <p:cNvCxnSpPr>
            <a:cxnSpLocks/>
            <a:stCxn id="11" idx="3"/>
          </p:cNvCxnSpPr>
          <p:nvPr/>
        </p:nvCxnSpPr>
        <p:spPr>
          <a:xfrm flipV="1">
            <a:off x="5730196" y="2400968"/>
            <a:ext cx="2304195" cy="2325239"/>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9598F59F-7E02-7303-6079-12BA7C73C798}"/>
              </a:ext>
            </a:extLst>
          </p:cNvPr>
          <p:cNvCxnSpPr>
            <a:cxnSpLocks/>
            <a:stCxn id="11" idx="3"/>
          </p:cNvCxnSpPr>
          <p:nvPr/>
        </p:nvCxnSpPr>
        <p:spPr>
          <a:xfrm flipV="1">
            <a:off x="5730196" y="4470856"/>
            <a:ext cx="2304195" cy="255351"/>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 name="Table 6">
            <a:extLst>
              <a:ext uri="{FF2B5EF4-FFF2-40B4-BE49-F238E27FC236}">
                <a16:creationId xmlns:a16="http://schemas.microsoft.com/office/drawing/2014/main" id="{B83D44E0-E56E-4FAD-80B5-AAF7A956B546}"/>
              </a:ext>
            </a:extLst>
          </p:cNvPr>
          <p:cNvGraphicFramePr>
            <a:graphicFrameLocks noGrp="1"/>
          </p:cNvGraphicFramePr>
          <p:nvPr>
            <p:extLst>
              <p:ext uri="{D42A27DB-BD31-4B8C-83A1-F6EECF244321}">
                <p14:modId xmlns:p14="http://schemas.microsoft.com/office/powerpoint/2010/main" val="976614399"/>
              </p:ext>
            </p:extLst>
          </p:nvPr>
        </p:nvGraphicFramePr>
        <p:xfrm>
          <a:off x="775909" y="3956036"/>
          <a:ext cx="4954287" cy="1540343"/>
        </p:xfrm>
        <a:graphic>
          <a:graphicData uri="http://schemas.openxmlformats.org/drawingml/2006/table">
            <a:tbl>
              <a:tblPr firstRow="1" bandRow="1">
                <a:tableStyleId>{5C22544A-7EE6-4342-B048-85BDC9FD1C3A}</a:tableStyleId>
              </a:tblPr>
              <a:tblGrid>
                <a:gridCol w="4954287">
                  <a:extLst>
                    <a:ext uri="{9D8B030D-6E8A-4147-A177-3AD203B41FA5}">
                      <a16:colId xmlns:a16="http://schemas.microsoft.com/office/drawing/2014/main" val="1985512441"/>
                    </a:ext>
                  </a:extLst>
                </a:gridCol>
              </a:tblGrid>
              <a:tr h="402577">
                <a:tc>
                  <a:txBody>
                    <a:bodyPr/>
                    <a:lstStyle/>
                    <a:p>
                      <a:r>
                        <a:rPr lang="en-US" sz="2000">
                          <a:ea typeface="Calibri"/>
                          <a:cs typeface="Calibri"/>
                        </a:rPr>
                        <a:t>The best way to view the SOA. </a:t>
                      </a:r>
                      <a:endParaRPr lang="en-US" sz="2000"/>
                    </a:p>
                  </a:txBody>
                  <a:tcPr/>
                </a:tc>
                <a:extLst>
                  <a:ext uri="{0D108BD9-81ED-4DB2-BD59-A6C34878D82A}">
                    <a16:rowId xmlns:a16="http://schemas.microsoft.com/office/drawing/2014/main" val="1676054144"/>
                  </a:ext>
                </a:extLst>
              </a:tr>
              <a:tr h="1137766">
                <a:tc>
                  <a:txBody>
                    <a:bodyPr/>
                    <a:lstStyle/>
                    <a:p>
                      <a:r>
                        <a:rPr lang="en-US" sz="2000">
                          <a:ea typeface="Calibri"/>
                          <a:cs typeface="Calibri"/>
                        </a:rPr>
                        <a:t>Export it to Excel or CSV depending on how you want to view and utilize the format.</a:t>
                      </a:r>
                    </a:p>
                  </a:txBody>
                  <a:tcPr/>
                </a:tc>
                <a:extLst>
                  <a:ext uri="{0D108BD9-81ED-4DB2-BD59-A6C34878D82A}">
                    <a16:rowId xmlns:a16="http://schemas.microsoft.com/office/drawing/2014/main" val="3951915660"/>
                  </a:ext>
                </a:extLst>
              </a:tr>
            </a:tbl>
          </a:graphicData>
        </a:graphic>
      </p:graphicFrame>
    </p:spTree>
    <p:extLst>
      <p:ext uri="{BB962C8B-B14F-4D97-AF65-F5344CB8AC3E}">
        <p14:creationId xmlns:p14="http://schemas.microsoft.com/office/powerpoint/2010/main" val="18918510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F4E96-D75E-43BE-87C1-D720B6A995BF}"/>
              </a:ext>
            </a:extLst>
          </p:cNvPr>
          <p:cNvSpPr>
            <a:spLocks noGrp="1"/>
          </p:cNvSpPr>
          <p:nvPr>
            <p:ph type="title"/>
          </p:nvPr>
        </p:nvSpPr>
        <p:spPr/>
        <p:txBody>
          <a:bodyPr/>
          <a:lstStyle/>
          <a:p>
            <a:endParaRPr lang="en-US"/>
          </a:p>
        </p:txBody>
      </p:sp>
      <p:pic>
        <p:nvPicPr>
          <p:cNvPr id="4" name="Picture 3">
            <a:extLst>
              <a:ext uri="{FF2B5EF4-FFF2-40B4-BE49-F238E27FC236}">
                <a16:creationId xmlns:a16="http://schemas.microsoft.com/office/drawing/2014/main" id="{14B2984B-CB31-47C7-AD3B-A39C9166CA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46023" y="932656"/>
            <a:ext cx="2595053" cy="1730880"/>
          </a:xfrm>
          <a:prstGeom prst="rect">
            <a:avLst/>
          </a:prstGeom>
        </p:spPr>
      </p:pic>
      <p:sp>
        <p:nvSpPr>
          <p:cNvPr id="6" name="Content Placeholder 2">
            <a:extLst>
              <a:ext uri="{FF2B5EF4-FFF2-40B4-BE49-F238E27FC236}">
                <a16:creationId xmlns:a16="http://schemas.microsoft.com/office/drawing/2014/main" id="{99C948FE-873A-4396-AD92-FC9DEBAA8E20}"/>
              </a:ext>
            </a:extLst>
          </p:cNvPr>
          <p:cNvSpPr txBox="1">
            <a:spLocks/>
          </p:cNvSpPr>
          <p:nvPr/>
        </p:nvSpPr>
        <p:spPr>
          <a:xfrm>
            <a:off x="757572" y="2598986"/>
            <a:ext cx="4443383" cy="326271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Recording</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 This session </a:t>
            </a:r>
            <a:r>
              <a:rPr lang="en-US" sz="1600">
                <a:solidFill>
                  <a:prstClr val="black"/>
                </a:solidFill>
                <a:latin typeface="Calibri" panose="020F0502020204030204"/>
              </a:rPr>
              <a:t>is being recorded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and the associated handouts will be available on ORPP&amp;E’s Education and Training website within one-week post-webinar.</a:t>
            </a:r>
            <a:endParaRPr lang="en-US" sz="160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lang="en-US" sz="1600" b="1">
                <a:solidFill>
                  <a:prstClr val="black"/>
                </a:solidFill>
                <a:latin typeface="Calibri" panose="020F0502020204030204"/>
              </a:rPr>
              <a:t>Close Captioning </a:t>
            </a:r>
            <a:r>
              <a:rPr lang="en-US" sz="1600">
                <a:solidFill>
                  <a:prstClr val="black"/>
                </a:solidFill>
                <a:latin typeface="Calibri" panose="020F0502020204030204"/>
              </a:rPr>
              <a:t>- Now available in the new Webex platform. Click the “CC” button at the bottom left of the Webex screen.</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lang="en-US" sz="1600">
              <a:solidFill>
                <a:prstClr val="black"/>
              </a:solidFill>
              <a:latin typeface="Calibri" panose="020F0502020204030204"/>
            </a:endParaRPr>
          </a:p>
          <a:p>
            <a:pPr>
              <a:buFont typeface="Wingdings" panose="05000000000000000000" pitchFamily="2" charset="2"/>
              <a:buChar char="ü"/>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Experiencing Sound </a:t>
            </a:r>
            <a:r>
              <a:rPr lang="en-US" sz="1600" b="1">
                <a:solidFill>
                  <a:prstClr val="black"/>
                </a:solidFill>
                <a:latin typeface="Calibri" panose="020F0502020204030204"/>
              </a:rPr>
              <a:t>I</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ssues</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 Call in using the number in your Webex chat box or in your registration confirmation email.</a:t>
            </a:r>
            <a:endParaRPr lang="en-US" sz="1600">
              <a:solidFill>
                <a:prstClr val="black"/>
              </a:solidFill>
              <a:latin typeface="Calibri" panose="020F0502020204030204"/>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Content Placeholder 2">
            <a:extLst>
              <a:ext uri="{FF2B5EF4-FFF2-40B4-BE49-F238E27FC236}">
                <a16:creationId xmlns:a16="http://schemas.microsoft.com/office/drawing/2014/main" id="{176D54A4-5B54-4112-ACC6-B635EFB16713}"/>
              </a:ext>
            </a:extLst>
          </p:cNvPr>
          <p:cNvSpPr txBox="1">
            <a:spLocks/>
          </p:cNvSpPr>
          <p:nvPr/>
        </p:nvSpPr>
        <p:spPr>
          <a:xfrm>
            <a:off x="6239755" y="2598986"/>
            <a:ext cx="5308973" cy="3440347"/>
          </a:xfrm>
          <a:prstGeom prst="rect">
            <a:avLst/>
          </a:prstGeom>
        </p:spPr>
        <p:txBody>
          <a:bodyPr vert="horz" lIns="51435" tIns="25718" rIns="51435" bIns="25718"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Q&amp;A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Please use the Q&amp;A feature to submit questions.  </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kumimoji="0" lang="en-US" sz="1600" b="1" i="0" u="none" strike="noStrike" kern="1200" cap="none" spc="0" normalizeH="0" baseline="0" noProof="0">
                <a:ln>
                  <a:noFill/>
                </a:ln>
                <a:solidFill>
                  <a:srgbClr val="FF0000"/>
                </a:solidFill>
                <a:effectLst/>
                <a:uLnTx/>
                <a:uFillTx/>
                <a:latin typeface="Calibri" panose="020F0502020204030204"/>
                <a:ea typeface="+mn-ea"/>
                <a:cs typeface="+mn-cs"/>
              </a:rPr>
              <a:t>Be sure to send questions to “All panelists”.</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ü"/>
              <a:tabLst/>
              <a:defRPr/>
            </a:pPr>
            <a:r>
              <a:rPr lang="en-US" sz="1600" b="1">
                <a:solidFill>
                  <a:srgbClr val="FF0000"/>
                </a:solidFill>
                <a:latin typeface="Calibri" panose="020F0502020204030204"/>
              </a:rPr>
              <a:t>Questions will be addressed at the end of the webinar.</a:t>
            </a:r>
            <a:endParaRPr kumimoji="0" lang="en-US" sz="1600" b="1" i="0" u="none" strike="noStrike" kern="1200" cap="none" spc="0" normalizeH="0" baseline="0" noProof="0">
              <a:ln>
                <a:noFill/>
              </a:ln>
              <a:solidFill>
                <a:srgbClr val="FF0000"/>
              </a:solidFill>
              <a:effectLst/>
              <a:uLnTx/>
              <a:uFillTx/>
              <a:latin typeface="Calibri" panose="020F0502020204030204"/>
              <a:ea typeface="+mn-ea"/>
              <a:cs typeface="+mn-cs"/>
            </a:endParaRPr>
          </a:p>
          <a:p>
            <a:pPr marL="457200" marR="0" lvl="1" indent="0" algn="l" defTabSz="914400" rtl="0" eaLnBrk="1" fontAlgn="auto" latinLnBrk="0" hangingPunct="1">
              <a:lnSpc>
                <a:spcPct val="90000"/>
              </a:lnSpc>
              <a:spcBef>
                <a:spcPts val="500"/>
              </a:spcBef>
              <a:spcAft>
                <a:spcPts val="0"/>
              </a:spcAft>
              <a:buClrTx/>
              <a:buSzTx/>
              <a:buNone/>
              <a:tabLst/>
              <a:defRPr/>
            </a:pPr>
            <a:endParaRPr kumimoji="0" lang="en-US" sz="1600" b="1" i="0" u="none" strike="noStrike" kern="1200" cap="none" spc="0" normalizeH="0" baseline="0" noProof="0">
              <a:ln>
                <a:noFill/>
              </a:ln>
              <a:solidFill>
                <a:srgbClr val="FF0000"/>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Webinar Archive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Most ORPP&amp;E webinars can be found here: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hlinkClick r:id="rId3">
                  <a:extLst>
                    <a:ext uri="{A12FA001-AC4F-418D-AE19-62706E023703}">
                      <ahyp:hlinkClr xmlns:ahyp="http://schemas.microsoft.com/office/drawing/2018/hyperlinkcolor" val="tx"/>
                    </a:ext>
                  </a:extLst>
                </a:hlinkClick>
              </a:rPr>
              <a:t>https://www.research.va.gov/programs/orppe/education/webinars/archives.cfm</a:t>
            </a: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128588" indent="-128588" defTabSz="514350">
              <a:spcBef>
                <a:spcPts val="563"/>
              </a:spcBef>
              <a:buFont typeface="Wingdings" panose="05000000000000000000" pitchFamily="2" charset="2"/>
              <a:buChar char="ü"/>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r>
              <a:rPr lang="en-US" sz="1600" b="1">
                <a:solidFill>
                  <a:prstClr val="black"/>
                </a:solidFill>
                <a:latin typeface="Calibri" panose="020F0502020204030204"/>
              </a:rPr>
              <a:t>P</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ost-Webinar </a:t>
            </a:r>
            <a:r>
              <a:rPr lang="en-US" sz="1600" b="1">
                <a:solidFill>
                  <a:prstClr val="black"/>
                </a:solidFill>
                <a:latin typeface="Calibri" panose="020F0502020204030204"/>
              </a:rPr>
              <a:t>E</a:t>
            </a:r>
            <a:r>
              <a:rPr kumimoji="0" lang="en-US" sz="1600" b="1" i="0" u="none" strike="noStrike" kern="1200" cap="none" spc="0" normalizeH="0" baseline="0" noProof="0">
                <a:ln>
                  <a:noFill/>
                </a:ln>
                <a:solidFill>
                  <a:prstClr val="black"/>
                </a:solidFill>
                <a:effectLst/>
                <a:uLnTx/>
                <a:uFillTx/>
                <a:latin typeface="Calibri" panose="020F0502020204030204"/>
                <a:ea typeface="+mn-ea"/>
                <a:cs typeface="+mn-cs"/>
              </a:rPr>
              <a:t>valuation Survey </a:t>
            </a:r>
            <a:r>
              <a:rPr kumimoji="0" lang="en-US" sz="1600" b="0" i="0" u="none" strike="noStrike" kern="1200" cap="none" spc="0" normalizeH="0" baseline="0" noProof="0">
                <a:ln>
                  <a:noFill/>
                </a:ln>
                <a:solidFill>
                  <a:prstClr val="black"/>
                </a:solidFill>
                <a:effectLst/>
                <a:uLnTx/>
                <a:uFillTx/>
                <a:latin typeface="Calibri" panose="020F0502020204030204"/>
                <a:ea typeface="+mn-ea"/>
                <a:cs typeface="+mn-cs"/>
              </a:rPr>
              <a:t>-  We are grateful to all that complete the post-webinar evaluation survey.  It will automatically pop up once the webinar is exited. </a:t>
            </a:r>
          </a:p>
          <a:p>
            <a:pPr marL="128588" marR="0" lvl="0" indent="-128588" algn="l" defTabSz="514350" rtl="0" eaLnBrk="1" fontAlgn="auto" latinLnBrk="0" hangingPunct="1">
              <a:lnSpc>
                <a:spcPct val="90000"/>
              </a:lnSpc>
              <a:spcBef>
                <a:spcPts val="563"/>
              </a:spcBef>
              <a:spcAft>
                <a:spcPts val="0"/>
              </a:spcAft>
              <a:buClrTx/>
              <a:buSzTx/>
              <a:buFont typeface="Wingdings" panose="05000000000000000000" pitchFamily="2" charset="2"/>
              <a:buChar char="ü"/>
              <a:tabLst/>
              <a:defRPr/>
            </a:pPr>
            <a:endParaRPr kumimoji="0" lang="en-US"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 name="Footer Placeholder 4">
            <a:extLst>
              <a:ext uri="{FF2B5EF4-FFF2-40B4-BE49-F238E27FC236}">
                <a16:creationId xmlns:a16="http://schemas.microsoft.com/office/drawing/2014/main" id="{045F7CF9-5134-4BA7-BF10-0BDF794C6DC3}"/>
              </a:ext>
            </a:extLst>
          </p:cNvPr>
          <p:cNvSpPr txBox="1">
            <a:spLocks/>
          </p:cNvSpPr>
          <p:nvPr/>
        </p:nvSpPr>
        <p:spPr>
          <a:xfrm>
            <a:off x="3289300" y="6248401"/>
            <a:ext cx="4813300" cy="558800"/>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rgbClr val="003E7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rgbClr val="003E7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rgbClr val="003E7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rgbClr val="003E7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rgbClr val="003E7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For questions, please use Q&amp;A box and address to “All Panelists.”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1" i="0" u="none" strike="noStrike" kern="1200" cap="none" spc="0" normalizeH="0" baseline="0" noProof="0">
                <a:ln>
                  <a:noFill/>
                </a:ln>
                <a:solidFill>
                  <a:prstClr val="white"/>
                </a:solidFill>
                <a:effectLst/>
                <a:uLnTx/>
                <a:uFillTx/>
                <a:latin typeface="Calibri" panose="020F0502020204030204"/>
                <a:ea typeface="+mn-ea"/>
                <a:cs typeface="+mn-cs"/>
              </a:rPr>
              <a:t>All Webinars will be recorded and posted within one week.</a:t>
            </a:r>
          </a:p>
        </p:txBody>
      </p:sp>
      <p:sp>
        <p:nvSpPr>
          <p:cNvPr id="10" name="Title 1">
            <a:extLst>
              <a:ext uri="{FF2B5EF4-FFF2-40B4-BE49-F238E27FC236}">
                <a16:creationId xmlns:a16="http://schemas.microsoft.com/office/drawing/2014/main" id="{3E662F65-850D-4631-AD6A-04DDDD8F7309}"/>
              </a:ext>
            </a:extLst>
          </p:cNvPr>
          <p:cNvSpPr txBox="1">
            <a:spLocks/>
          </p:cNvSpPr>
          <p:nvPr/>
        </p:nvSpPr>
        <p:spPr>
          <a:xfrm>
            <a:off x="4383995" y="1921932"/>
            <a:ext cx="1633919" cy="19955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350" b="1" i="1" u="none" strike="noStrike" kern="1200" cap="none" spc="0" normalizeH="0" baseline="0" noProof="0">
                <a:ln>
                  <a:noFill/>
                </a:ln>
                <a:solidFill>
                  <a:prstClr val="black"/>
                </a:solidFill>
                <a:effectLst/>
                <a:uLnTx/>
                <a:uFillTx/>
                <a:latin typeface="Bradley Hand ITC" panose="03070402050302030203" pitchFamily="66" charset="0"/>
                <a:ea typeface="+mj-ea"/>
                <a:cs typeface="+mj-cs"/>
              </a:rPr>
              <a:t>Webinar </a:t>
            </a:r>
            <a:br>
              <a:rPr kumimoji="0" lang="en-US" sz="1350" b="1" i="1" u="none" strike="noStrike" kern="1200" cap="none" spc="0" normalizeH="0" baseline="0" noProof="0">
                <a:ln>
                  <a:noFill/>
                </a:ln>
                <a:solidFill>
                  <a:prstClr val="black"/>
                </a:solidFill>
                <a:effectLst/>
                <a:uLnTx/>
                <a:uFillTx/>
                <a:latin typeface="Bradley Hand ITC" panose="03070402050302030203" pitchFamily="66" charset="0"/>
                <a:ea typeface="+mj-ea"/>
                <a:cs typeface="+mj-cs"/>
              </a:rPr>
            </a:br>
            <a:r>
              <a:rPr kumimoji="0" lang="en-US" sz="1350" b="1" i="1" u="none" strike="noStrike" kern="1200" cap="none" spc="0" normalizeH="0" baseline="0" noProof="0">
                <a:ln>
                  <a:noFill/>
                </a:ln>
                <a:solidFill>
                  <a:prstClr val="black"/>
                </a:solidFill>
                <a:effectLst/>
                <a:uLnTx/>
                <a:uFillTx/>
                <a:latin typeface="Bradley Hand ITC" panose="03070402050302030203" pitchFamily="66" charset="0"/>
                <a:ea typeface="+mj-ea"/>
                <a:cs typeface="+mj-cs"/>
              </a:rPr>
              <a:t>Housekeeping</a:t>
            </a:r>
          </a:p>
        </p:txBody>
      </p:sp>
    </p:spTree>
    <p:extLst>
      <p:ext uri="{BB962C8B-B14F-4D97-AF65-F5344CB8AC3E}">
        <p14:creationId xmlns:p14="http://schemas.microsoft.com/office/powerpoint/2010/main" val="13038122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07BD17-EF4A-B5CB-AD10-A8BDC9753A2E}"/>
              </a:ext>
            </a:extLst>
          </p:cNvPr>
          <p:cNvSpPr>
            <a:spLocks noGrp="1"/>
          </p:cNvSpPr>
          <p:nvPr>
            <p:ph type="title"/>
          </p:nvPr>
        </p:nvSpPr>
        <p:spPr/>
        <p:txBody>
          <a:bodyPr/>
          <a:lstStyle/>
          <a:p>
            <a:r>
              <a:rPr lang="en-US">
                <a:ea typeface="Calibri Light"/>
                <a:cs typeface="Calibri Light"/>
              </a:rPr>
              <a:t>Section 2: Using VSSC</a:t>
            </a:r>
            <a:endParaRPr lang="en-US" b="0">
              <a:ea typeface="+mj-lt"/>
              <a:cs typeface="+mj-lt"/>
            </a:endParaRPr>
          </a:p>
        </p:txBody>
      </p:sp>
      <p:pic>
        <p:nvPicPr>
          <p:cNvPr id="6" name="Picture 6">
            <a:extLst>
              <a:ext uri="{FF2B5EF4-FFF2-40B4-BE49-F238E27FC236}">
                <a16:creationId xmlns:a16="http://schemas.microsoft.com/office/drawing/2014/main" id="{6BA96F57-41C3-7546-FB19-7AE8C044F14A}"/>
              </a:ext>
            </a:extLst>
          </p:cNvPr>
          <p:cNvPicPr>
            <a:picLocks noGrp="1" noChangeAspect="1"/>
          </p:cNvPicPr>
          <p:nvPr>
            <p:ph idx="1"/>
          </p:nvPr>
        </p:nvPicPr>
        <p:blipFill>
          <a:blip r:embed="rId2"/>
          <a:stretch>
            <a:fillRect/>
          </a:stretch>
        </p:blipFill>
        <p:spPr>
          <a:xfrm>
            <a:off x="507546" y="1281360"/>
            <a:ext cx="10515600" cy="1482001"/>
          </a:xfrm>
          <a:ln w="38100">
            <a:solidFill>
              <a:schemeClr val="accent1"/>
            </a:solidFill>
          </a:ln>
        </p:spPr>
      </p:pic>
      <p:sp>
        <p:nvSpPr>
          <p:cNvPr id="4" name="Date Placeholder 3">
            <a:extLst>
              <a:ext uri="{FF2B5EF4-FFF2-40B4-BE49-F238E27FC236}">
                <a16:creationId xmlns:a16="http://schemas.microsoft.com/office/drawing/2014/main" id="{69B51BA5-D8CB-C62A-0343-50339A043AE1}"/>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6A49A4B6-F732-F0C0-6F44-93EC543DB529}"/>
              </a:ext>
            </a:extLst>
          </p:cNvPr>
          <p:cNvSpPr>
            <a:spLocks noGrp="1"/>
          </p:cNvSpPr>
          <p:nvPr>
            <p:ph type="sldNum" sz="quarter" idx="12"/>
          </p:nvPr>
        </p:nvSpPr>
        <p:spPr/>
        <p:txBody>
          <a:bodyPr/>
          <a:lstStyle/>
          <a:p>
            <a:fld id="{670A9334-4E67-F94F-A05E-0CE8B74A054E}" type="slidenum">
              <a:rPr lang="en-US" smtClean="0"/>
              <a:t>20</a:t>
            </a:fld>
            <a:endParaRPr lang="en-US"/>
          </a:p>
        </p:txBody>
      </p:sp>
      <p:graphicFrame>
        <p:nvGraphicFramePr>
          <p:cNvPr id="8" name="Table 6">
            <a:extLst>
              <a:ext uri="{FF2B5EF4-FFF2-40B4-BE49-F238E27FC236}">
                <a16:creationId xmlns:a16="http://schemas.microsoft.com/office/drawing/2014/main" id="{FF83315F-C8A1-494A-B287-B8CCEFC7C0C4}"/>
              </a:ext>
            </a:extLst>
          </p:cNvPr>
          <p:cNvGraphicFramePr>
            <a:graphicFrameLocks noGrp="1"/>
          </p:cNvGraphicFramePr>
          <p:nvPr>
            <p:extLst>
              <p:ext uri="{D42A27DB-BD31-4B8C-83A1-F6EECF244321}">
                <p14:modId xmlns:p14="http://schemas.microsoft.com/office/powerpoint/2010/main" val="2970791684"/>
              </p:ext>
            </p:extLst>
          </p:nvPr>
        </p:nvGraphicFramePr>
        <p:xfrm>
          <a:off x="2281721" y="3084786"/>
          <a:ext cx="6513814" cy="1575555"/>
        </p:xfrm>
        <a:graphic>
          <a:graphicData uri="http://schemas.openxmlformats.org/drawingml/2006/table">
            <a:tbl>
              <a:tblPr firstRow="1" bandRow="1">
                <a:tableStyleId>{5C22544A-7EE6-4342-B048-85BDC9FD1C3A}</a:tableStyleId>
              </a:tblPr>
              <a:tblGrid>
                <a:gridCol w="6513814">
                  <a:extLst>
                    <a:ext uri="{9D8B030D-6E8A-4147-A177-3AD203B41FA5}">
                      <a16:colId xmlns:a16="http://schemas.microsoft.com/office/drawing/2014/main" val="1985512441"/>
                    </a:ext>
                  </a:extLst>
                </a:gridCol>
              </a:tblGrid>
              <a:tr h="302686">
                <a:tc>
                  <a:txBody>
                    <a:bodyPr/>
                    <a:lstStyle/>
                    <a:p>
                      <a:r>
                        <a:rPr lang="en-US" sz="2000">
                          <a:ea typeface="+mn-lt"/>
                          <a:cs typeface="+mn-lt"/>
                        </a:rPr>
                        <a:t>The VSSC will also break down:</a:t>
                      </a:r>
                      <a:endParaRPr lang="en-US" sz="2000"/>
                    </a:p>
                  </a:txBody>
                  <a:tcPr/>
                </a:tc>
                <a:extLst>
                  <a:ext uri="{0D108BD9-81ED-4DB2-BD59-A6C34878D82A}">
                    <a16:rowId xmlns:a16="http://schemas.microsoft.com/office/drawing/2014/main" val="1676054144"/>
                  </a:ext>
                </a:extLst>
              </a:tr>
              <a:tr h="1179315">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ea typeface="+mn-lt"/>
                          <a:cs typeface="+mn-lt"/>
                        </a:rPr>
                        <a:t>The budget, obligated, and unobligated amounts by the Quarter you are i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ea typeface="+mn-lt"/>
                          <a:cs typeface="+mn-lt"/>
                        </a:rPr>
                        <a:t>You should just focus on the overall year-to-date amounts</a:t>
                      </a:r>
                      <a:endParaRPr lang="en-US" sz="2000"/>
                    </a:p>
                  </a:txBody>
                  <a:tcPr/>
                </a:tc>
                <a:extLst>
                  <a:ext uri="{0D108BD9-81ED-4DB2-BD59-A6C34878D82A}">
                    <a16:rowId xmlns:a16="http://schemas.microsoft.com/office/drawing/2014/main" val="3951915660"/>
                  </a:ext>
                </a:extLst>
              </a:tr>
            </a:tbl>
          </a:graphicData>
        </a:graphic>
      </p:graphicFrame>
    </p:spTree>
    <p:extLst>
      <p:ext uri="{BB962C8B-B14F-4D97-AF65-F5344CB8AC3E}">
        <p14:creationId xmlns:p14="http://schemas.microsoft.com/office/powerpoint/2010/main" val="40852335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27C8C-64C0-1023-9AC0-F25B40EEB4FD}"/>
              </a:ext>
            </a:extLst>
          </p:cNvPr>
          <p:cNvSpPr>
            <a:spLocks noGrp="1"/>
          </p:cNvSpPr>
          <p:nvPr>
            <p:ph type="title"/>
          </p:nvPr>
        </p:nvSpPr>
        <p:spPr/>
        <p:txBody>
          <a:bodyPr/>
          <a:lstStyle/>
          <a:p>
            <a:r>
              <a:rPr lang="en-US">
                <a:cs typeface="Calibri Light"/>
              </a:rPr>
              <a:t>Section 2: Using Budget SOA</a:t>
            </a:r>
            <a:endParaRPr lang="en-US"/>
          </a:p>
        </p:txBody>
      </p:sp>
      <p:pic>
        <p:nvPicPr>
          <p:cNvPr id="7" name="Picture 7">
            <a:extLst>
              <a:ext uri="{FF2B5EF4-FFF2-40B4-BE49-F238E27FC236}">
                <a16:creationId xmlns:a16="http://schemas.microsoft.com/office/drawing/2014/main" id="{374F7CC8-6CA6-14D7-01E2-2683BEB4F1B7}"/>
              </a:ext>
            </a:extLst>
          </p:cNvPr>
          <p:cNvPicPr>
            <a:picLocks noGrp="1" noChangeAspect="1"/>
          </p:cNvPicPr>
          <p:nvPr>
            <p:ph idx="1"/>
          </p:nvPr>
        </p:nvPicPr>
        <p:blipFill>
          <a:blip r:embed="rId2"/>
          <a:stretch>
            <a:fillRect/>
          </a:stretch>
        </p:blipFill>
        <p:spPr>
          <a:xfrm>
            <a:off x="1107739" y="3346556"/>
            <a:ext cx="9182100" cy="2257425"/>
          </a:xfrm>
          <a:ln w="38100">
            <a:solidFill>
              <a:schemeClr val="accent1"/>
            </a:solidFill>
          </a:ln>
        </p:spPr>
      </p:pic>
      <p:sp>
        <p:nvSpPr>
          <p:cNvPr id="4" name="Date Placeholder 3">
            <a:extLst>
              <a:ext uri="{FF2B5EF4-FFF2-40B4-BE49-F238E27FC236}">
                <a16:creationId xmlns:a16="http://schemas.microsoft.com/office/drawing/2014/main" id="{BBA492CE-9F04-5DEE-D797-AAE9BA3C6E0B}"/>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637B5B9C-DA7A-2018-2818-F7E07B5249B1}"/>
              </a:ext>
            </a:extLst>
          </p:cNvPr>
          <p:cNvSpPr>
            <a:spLocks noGrp="1"/>
          </p:cNvSpPr>
          <p:nvPr>
            <p:ph type="sldNum" sz="quarter" idx="12"/>
          </p:nvPr>
        </p:nvSpPr>
        <p:spPr/>
        <p:txBody>
          <a:bodyPr/>
          <a:lstStyle/>
          <a:p>
            <a:fld id="{670A9334-4E67-F94F-A05E-0CE8B74A054E}" type="slidenum">
              <a:rPr lang="en-US" smtClean="0"/>
              <a:t>21</a:t>
            </a:fld>
            <a:endParaRPr lang="en-US"/>
          </a:p>
        </p:txBody>
      </p:sp>
      <p:graphicFrame>
        <p:nvGraphicFramePr>
          <p:cNvPr id="9" name="Table 6">
            <a:extLst>
              <a:ext uri="{FF2B5EF4-FFF2-40B4-BE49-F238E27FC236}">
                <a16:creationId xmlns:a16="http://schemas.microsoft.com/office/drawing/2014/main" id="{4022D660-D0D7-4876-8929-BFE5830FBEA0}"/>
              </a:ext>
            </a:extLst>
          </p:cNvPr>
          <p:cNvGraphicFramePr>
            <a:graphicFrameLocks noGrp="1"/>
          </p:cNvGraphicFramePr>
          <p:nvPr>
            <p:extLst>
              <p:ext uri="{D42A27DB-BD31-4B8C-83A1-F6EECF244321}">
                <p14:modId xmlns:p14="http://schemas.microsoft.com/office/powerpoint/2010/main" val="4163939543"/>
              </p:ext>
            </p:extLst>
          </p:nvPr>
        </p:nvGraphicFramePr>
        <p:xfrm>
          <a:off x="1304551" y="1161212"/>
          <a:ext cx="8661381" cy="2011680"/>
        </p:xfrm>
        <a:graphic>
          <a:graphicData uri="http://schemas.openxmlformats.org/drawingml/2006/table">
            <a:tbl>
              <a:tblPr firstRow="1" bandRow="1">
                <a:tableStyleId>{5C22544A-7EE6-4342-B048-85BDC9FD1C3A}</a:tableStyleId>
              </a:tblPr>
              <a:tblGrid>
                <a:gridCol w="8661381">
                  <a:extLst>
                    <a:ext uri="{9D8B030D-6E8A-4147-A177-3AD203B41FA5}">
                      <a16:colId xmlns:a16="http://schemas.microsoft.com/office/drawing/2014/main" val="1985512441"/>
                    </a:ext>
                  </a:extLst>
                </a:gridCol>
              </a:tblGrid>
              <a:tr h="302686">
                <a:tc>
                  <a:txBody>
                    <a:bodyPr/>
                    <a:lstStyle/>
                    <a:p>
                      <a:r>
                        <a:rPr lang="en-US" sz="2000">
                          <a:ea typeface="+mn-lt"/>
                          <a:cs typeface="+mn-lt"/>
                        </a:rPr>
                        <a:t>FCP number</a:t>
                      </a:r>
                      <a:endParaRPr lang="en-US" sz="2000"/>
                    </a:p>
                  </a:txBody>
                  <a:tcPr/>
                </a:tc>
                <a:extLst>
                  <a:ext uri="{0D108BD9-81ED-4DB2-BD59-A6C34878D82A}">
                    <a16:rowId xmlns:a16="http://schemas.microsoft.com/office/drawing/2014/main" val="1676054144"/>
                  </a:ext>
                </a:extLst>
              </a:tr>
              <a:tr h="1179315">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ea typeface="+mn-lt"/>
                          <a:cs typeface="+mn-lt"/>
                        </a:rPr>
                        <a:t>Ideally, the SOA you receive from your Budget Office should look similar to this example.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a:ea typeface="+mn-lt"/>
                          <a:cs typeface="+mn-lt"/>
                        </a:rPr>
                        <a:t>It will have the FCP number, only show the FMS year-to-date information and have information from IFCAP that provides you with the pending (committed) IFCAP transactions.</a:t>
                      </a:r>
                    </a:p>
                  </a:txBody>
                  <a:tcPr/>
                </a:tc>
                <a:extLst>
                  <a:ext uri="{0D108BD9-81ED-4DB2-BD59-A6C34878D82A}">
                    <a16:rowId xmlns:a16="http://schemas.microsoft.com/office/drawing/2014/main" val="3951915660"/>
                  </a:ext>
                </a:extLst>
              </a:tr>
            </a:tbl>
          </a:graphicData>
        </a:graphic>
      </p:graphicFrame>
    </p:spTree>
    <p:extLst>
      <p:ext uri="{BB962C8B-B14F-4D97-AF65-F5344CB8AC3E}">
        <p14:creationId xmlns:p14="http://schemas.microsoft.com/office/powerpoint/2010/main" val="146552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27C8C-64C0-1023-9AC0-F25B40EEB4FD}"/>
              </a:ext>
            </a:extLst>
          </p:cNvPr>
          <p:cNvSpPr>
            <a:spLocks noGrp="1"/>
          </p:cNvSpPr>
          <p:nvPr>
            <p:ph type="title"/>
          </p:nvPr>
        </p:nvSpPr>
        <p:spPr/>
        <p:txBody>
          <a:bodyPr/>
          <a:lstStyle/>
          <a:p>
            <a:r>
              <a:rPr lang="en-US">
                <a:cs typeface="Calibri Light"/>
              </a:rPr>
              <a:t>Section 2: What other tools are available</a:t>
            </a:r>
            <a:endParaRPr lang="en-US"/>
          </a:p>
        </p:txBody>
      </p:sp>
      <p:sp>
        <p:nvSpPr>
          <p:cNvPr id="3" name="Content Placeholder 2">
            <a:extLst>
              <a:ext uri="{FF2B5EF4-FFF2-40B4-BE49-F238E27FC236}">
                <a16:creationId xmlns:a16="http://schemas.microsoft.com/office/drawing/2014/main" id="{662C8F4E-D25F-DA71-8A49-07535A2FD016}"/>
              </a:ext>
            </a:extLst>
          </p:cNvPr>
          <p:cNvSpPr>
            <a:spLocks noGrp="1"/>
          </p:cNvSpPr>
          <p:nvPr>
            <p:ph idx="1"/>
          </p:nvPr>
        </p:nvSpPr>
        <p:spPr/>
        <p:txBody>
          <a:bodyPr vert="horz" lIns="91440" tIns="45720" rIns="91440" bIns="45720" rtlCol="0" anchor="t">
            <a:noAutofit/>
          </a:bodyPr>
          <a:lstStyle/>
          <a:p>
            <a:r>
              <a:rPr lang="en-US"/>
              <a:t>RAFT – allows you look up funds sent by ORD to the station and can be broken down by PI, Program, and date range.  </a:t>
            </a:r>
          </a:p>
          <a:p>
            <a:r>
              <a:rPr lang="en-US"/>
              <a:t>Running Balance – IFCAP works like a checkbook. Broken down into two sections. The VISTA side and the FMS side.  </a:t>
            </a:r>
            <a:endParaRPr lang="en-US">
              <a:ea typeface="Calibri"/>
              <a:cs typeface="Calibri"/>
            </a:endParaRPr>
          </a:p>
          <a:p>
            <a:r>
              <a:rPr lang="en-US"/>
              <a:t>F20D – gives you daily activity to the control point (VSSC).</a:t>
            </a:r>
          </a:p>
          <a:p>
            <a:r>
              <a:rPr lang="en-US"/>
              <a:t>Purchase Card Reports – tells you what transactions have not been reconciled. </a:t>
            </a:r>
          </a:p>
          <a:p>
            <a:endParaRPr lang="en-US">
              <a:ea typeface="Calibri"/>
              <a:cs typeface="Calibri"/>
            </a:endParaRPr>
          </a:p>
        </p:txBody>
      </p:sp>
      <p:sp>
        <p:nvSpPr>
          <p:cNvPr id="4" name="Date Placeholder 3">
            <a:extLst>
              <a:ext uri="{FF2B5EF4-FFF2-40B4-BE49-F238E27FC236}">
                <a16:creationId xmlns:a16="http://schemas.microsoft.com/office/drawing/2014/main" id="{BBA492CE-9F04-5DEE-D797-AAE9BA3C6E0B}"/>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637B5B9C-DA7A-2018-2818-F7E07B5249B1}"/>
              </a:ext>
            </a:extLst>
          </p:cNvPr>
          <p:cNvSpPr>
            <a:spLocks noGrp="1"/>
          </p:cNvSpPr>
          <p:nvPr>
            <p:ph type="sldNum" sz="quarter" idx="12"/>
          </p:nvPr>
        </p:nvSpPr>
        <p:spPr/>
        <p:txBody>
          <a:bodyPr/>
          <a:lstStyle/>
          <a:p>
            <a:fld id="{670A9334-4E67-F94F-A05E-0CE8B74A054E}" type="slidenum">
              <a:rPr lang="en-US" smtClean="0"/>
              <a:t>22</a:t>
            </a:fld>
            <a:endParaRPr lang="en-US"/>
          </a:p>
        </p:txBody>
      </p:sp>
    </p:spTree>
    <p:extLst>
      <p:ext uri="{BB962C8B-B14F-4D97-AF65-F5344CB8AC3E}">
        <p14:creationId xmlns:p14="http://schemas.microsoft.com/office/powerpoint/2010/main" val="9193425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34B2B-00B8-4DE1-B9F5-FAEDF7053972}"/>
              </a:ext>
            </a:extLst>
          </p:cNvPr>
          <p:cNvSpPr>
            <a:spLocks noGrp="1"/>
          </p:cNvSpPr>
          <p:nvPr>
            <p:ph type="title"/>
          </p:nvPr>
        </p:nvSpPr>
        <p:spPr/>
        <p:txBody>
          <a:bodyPr/>
          <a:lstStyle/>
          <a:p>
            <a:r>
              <a:rPr lang="en-US"/>
              <a:t>Section 2: Types of RAFT</a:t>
            </a:r>
          </a:p>
        </p:txBody>
      </p:sp>
      <p:pic>
        <p:nvPicPr>
          <p:cNvPr id="7" name="Content Placeholder 6">
            <a:extLst>
              <a:ext uri="{FF2B5EF4-FFF2-40B4-BE49-F238E27FC236}">
                <a16:creationId xmlns:a16="http://schemas.microsoft.com/office/drawing/2014/main" id="{70F4FE4D-931E-4C4E-B3FF-F8DD11C991AF}"/>
              </a:ext>
            </a:extLst>
          </p:cNvPr>
          <p:cNvPicPr>
            <a:picLocks noGrp="1" noChangeAspect="1"/>
          </p:cNvPicPr>
          <p:nvPr>
            <p:ph idx="1"/>
          </p:nvPr>
        </p:nvPicPr>
        <p:blipFill>
          <a:blip r:embed="rId3"/>
          <a:stretch>
            <a:fillRect/>
          </a:stretch>
        </p:blipFill>
        <p:spPr>
          <a:xfrm>
            <a:off x="212902" y="1080727"/>
            <a:ext cx="6287377" cy="3067478"/>
          </a:xfrm>
          <a:ln w="41275">
            <a:solidFill>
              <a:schemeClr val="accent1"/>
            </a:solidFill>
          </a:ln>
        </p:spPr>
      </p:pic>
      <p:sp>
        <p:nvSpPr>
          <p:cNvPr id="4" name="Date Placeholder 3">
            <a:extLst>
              <a:ext uri="{FF2B5EF4-FFF2-40B4-BE49-F238E27FC236}">
                <a16:creationId xmlns:a16="http://schemas.microsoft.com/office/drawing/2014/main" id="{B0EC734C-BAED-4D0A-AD73-EDDB5B68D627}"/>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6627305E-53C2-4A8B-BBE1-BA03BF7533AC}"/>
              </a:ext>
            </a:extLst>
          </p:cNvPr>
          <p:cNvSpPr>
            <a:spLocks noGrp="1"/>
          </p:cNvSpPr>
          <p:nvPr>
            <p:ph type="sldNum" sz="quarter" idx="12"/>
          </p:nvPr>
        </p:nvSpPr>
        <p:spPr/>
        <p:txBody>
          <a:bodyPr/>
          <a:lstStyle/>
          <a:p>
            <a:fld id="{670A9334-4E67-F94F-A05E-0CE8B74A054E}" type="slidenum">
              <a:rPr lang="en-US" smtClean="0"/>
              <a:t>23</a:t>
            </a:fld>
            <a:endParaRPr lang="en-US"/>
          </a:p>
        </p:txBody>
      </p:sp>
      <p:cxnSp>
        <p:nvCxnSpPr>
          <p:cNvPr id="9" name="Straight Arrow Connector 8">
            <a:extLst>
              <a:ext uri="{FF2B5EF4-FFF2-40B4-BE49-F238E27FC236}">
                <a16:creationId xmlns:a16="http://schemas.microsoft.com/office/drawing/2014/main" id="{3C0F5957-1916-4797-AE35-BD57D814C482}"/>
              </a:ext>
            </a:extLst>
          </p:cNvPr>
          <p:cNvCxnSpPr/>
          <p:nvPr/>
        </p:nvCxnSpPr>
        <p:spPr>
          <a:xfrm flipH="1">
            <a:off x="5701004" y="1380931"/>
            <a:ext cx="1259633" cy="45720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10" name="TextBox 9">
            <a:extLst>
              <a:ext uri="{FF2B5EF4-FFF2-40B4-BE49-F238E27FC236}">
                <a16:creationId xmlns:a16="http://schemas.microsoft.com/office/drawing/2014/main" id="{06C03803-9935-4406-B413-413B49602E4A}"/>
              </a:ext>
            </a:extLst>
          </p:cNvPr>
          <p:cNvSpPr txBox="1"/>
          <p:nvPr/>
        </p:nvSpPr>
        <p:spPr>
          <a:xfrm>
            <a:off x="6862439" y="1145219"/>
            <a:ext cx="2831977" cy="2862322"/>
          </a:xfrm>
          <a:prstGeom prst="rect">
            <a:avLst/>
          </a:prstGeom>
          <a:ln w="41275">
            <a:solidFill>
              <a:schemeClr val="accent1"/>
            </a:solidFill>
          </a:ln>
        </p:spPr>
        <p:txBody>
          <a:bodyPr wrap="square" rtlCol="0">
            <a:spAutoFit/>
          </a:bodyPr>
          <a:lstStyle/>
          <a:p>
            <a:r>
              <a:rPr lang="en-US"/>
              <a:t>Go to Reports – Budget Reports</a:t>
            </a:r>
          </a:p>
          <a:p>
            <a:endParaRPr lang="en-US"/>
          </a:p>
          <a:p>
            <a:r>
              <a:rPr lang="en-US"/>
              <a:t>All the Budget Reports are located on the left panel.</a:t>
            </a:r>
          </a:p>
          <a:p>
            <a:endParaRPr lang="en-US"/>
          </a:p>
          <a:p>
            <a:r>
              <a:rPr lang="en-US"/>
              <a:t>Once you pull a report, there is an option to export to excel or pdf.</a:t>
            </a:r>
          </a:p>
          <a:p>
            <a:endParaRPr lang="en-US"/>
          </a:p>
        </p:txBody>
      </p:sp>
      <p:sp>
        <p:nvSpPr>
          <p:cNvPr id="3" name="TextBox 2">
            <a:extLst>
              <a:ext uri="{FF2B5EF4-FFF2-40B4-BE49-F238E27FC236}">
                <a16:creationId xmlns:a16="http://schemas.microsoft.com/office/drawing/2014/main" id="{E47DF335-6642-88AC-73E4-2E61F684DDC3}"/>
              </a:ext>
            </a:extLst>
          </p:cNvPr>
          <p:cNvSpPr txBox="1"/>
          <p:nvPr/>
        </p:nvSpPr>
        <p:spPr>
          <a:xfrm>
            <a:off x="745670" y="4495800"/>
            <a:ext cx="8162023"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cs typeface="Calibri"/>
              </a:rPr>
              <a:t>View November 2022 training for more information regarding RAFT reports:</a:t>
            </a:r>
          </a:p>
          <a:p>
            <a:r>
              <a:rPr lang="en-US" sz="2000">
                <a:ea typeface="+mn-lt"/>
                <a:cs typeface="+mn-lt"/>
                <a:hlinkClick r:id="rId4"/>
              </a:rPr>
              <a:t>Finance Monthly Training Series: Finding, Reviewing and Executing your Budget Allocations (va.gov)</a:t>
            </a:r>
            <a:endParaRPr lang="en-US" sz="2000"/>
          </a:p>
        </p:txBody>
      </p:sp>
    </p:spTree>
    <p:extLst>
      <p:ext uri="{BB962C8B-B14F-4D97-AF65-F5344CB8AC3E}">
        <p14:creationId xmlns:p14="http://schemas.microsoft.com/office/powerpoint/2010/main" val="4194322645"/>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34B2B-00B8-4DE1-B9F5-FAEDF7053972}"/>
              </a:ext>
            </a:extLst>
          </p:cNvPr>
          <p:cNvSpPr>
            <a:spLocks noGrp="1"/>
          </p:cNvSpPr>
          <p:nvPr>
            <p:ph type="title"/>
          </p:nvPr>
        </p:nvSpPr>
        <p:spPr/>
        <p:txBody>
          <a:bodyPr/>
          <a:lstStyle/>
          <a:p>
            <a:r>
              <a:rPr lang="en-US"/>
              <a:t>Section 2: Running Balance</a:t>
            </a:r>
          </a:p>
        </p:txBody>
      </p:sp>
      <p:sp>
        <p:nvSpPr>
          <p:cNvPr id="4" name="Date Placeholder 3">
            <a:extLst>
              <a:ext uri="{FF2B5EF4-FFF2-40B4-BE49-F238E27FC236}">
                <a16:creationId xmlns:a16="http://schemas.microsoft.com/office/drawing/2014/main" id="{B0EC734C-BAED-4D0A-AD73-EDDB5B68D627}"/>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6627305E-53C2-4A8B-BBE1-BA03BF7533AC}"/>
              </a:ext>
            </a:extLst>
          </p:cNvPr>
          <p:cNvSpPr>
            <a:spLocks noGrp="1"/>
          </p:cNvSpPr>
          <p:nvPr>
            <p:ph type="sldNum" sz="quarter" idx="12"/>
          </p:nvPr>
        </p:nvSpPr>
        <p:spPr/>
        <p:txBody>
          <a:bodyPr/>
          <a:lstStyle/>
          <a:p>
            <a:fld id="{670A9334-4E67-F94F-A05E-0CE8B74A054E}" type="slidenum">
              <a:rPr lang="en-US" smtClean="0"/>
              <a:t>24</a:t>
            </a:fld>
            <a:endParaRPr lang="en-US"/>
          </a:p>
        </p:txBody>
      </p:sp>
      <p:pic>
        <p:nvPicPr>
          <p:cNvPr id="10" name="Picture 10">
            <a:extLst>
              <a:ext uri="{FF2B5EF4-FFF2-40B4-BE49-F238E27FC236}">
                <a16:creationId xmlns:a16="http://schemas.microsoft.com/office/drawing/2014/main" id="{9D374CFF-4CE3-306F-5A81-1B6CA4C72EF1}"/>
              </a:ext>
            </a:extLst>
          </p:cNvPr>
          <p:cNvPicPr>
            <a:picLocks noGrp="1" noChangeAspect="1"/>
          </p:cNvPicPr>
          <p:nvPr>
            <p:ph idx="1"/>
          </p:nvPr>
        </p:nvPicPr>
        <p:blipFill>
          <a:blip r:embed="rId3"/>
          <a:stretch>
            <a:fillRect/>
          </a:stretch>
        </p:blipFill>
        <p:spPr>
          <a:xfrm>
            <a:off x="695098" y="1536813"/>
            <a:ext cx="10067925" cy="2676525"/>
          </a:xfrm>
          <a:ln w="38100">
            <a:solidFill>
              <a:schemeClr val="accent1"/>
            </a:solidFill>
          </a:ln>
        </p:spPr>
      </p:pic>
    </p:spTree>
    <p:extLst>
      <p:ext uri="{BB962C8B-B14F-4D97-AF65-F5344CB8AC3E}">
        <p14:creationId xmlns:p14="http://schemas.microsoft.com/office/powerpoint/2010/main" val="1723166317"/>
      </p:ext>
    </p:extLst>
  </p:cSld>
  <p:clrMapOvr>
    <a:overrideClrMapping bg1="lt1" tx1="dk1" bg2="lt2" tx2="dk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4C04A-4231-2B82-4E3B-EDF808C1538B}"/>
              </a:ext>
            </a:extLst>
          </p:cNvPr>
          <p:cNvSpPr>
            <a:spLocks noGrp="1"/>
          </p:cNvSpPr>
          <p:nvPr>
            <p:ph type="title"/>
          </p:nvPr>
        </p:nvSpPr>
        <p:spPr/>
        <p:txBody>
          <a:bodyPr/>
          <a:lstStyle/>
          <a:p>
            <a:r>
              <a:rPr lang="en-US">
                <a:ea typeface="+mj-lt"/>
                <a:cs typeface="+mj-lt"/>
              </a:rPr>
              <a:t>Section 2: Running Balance</a:t>
            </a:r>
          </a:p>
        </p:txBody>
      </p:sp>
      <p:sp>
        <p:nvSpPr>
          <p:cNvPr id="4" name="Date Placeholder 3">
            <a:extLst>
              <a:ext uri="{FF2B5EF4-FFF2-40B4-BE49-F238E27FC236}">
                <a16:creationId xmlns:a16="http://schemas.microsoft.com/office/drawing/2014/main" id="{2B282930-EF66-54EF-0EB3-99F2598B7745}"/>
              </a:ext>
            </a:extLst>
          </p:cNvPr>
          <p:cNvSpPr>
            <a:spLocks noGrp="1"/>
          </p:cNvSpPr>
          <p:nvPr>
            <p:ph type="dt" sz="half" idx="10"/>
          </p:nvPr>
        </p:nvSpPr>
        <p:spPr/>
        <p:txBody>
          <a:bodyPr/>
          <a:lstStyle/>
          <a:p>
            <a:fld id="{33063118-35D6-4879-9E98-44395A9C85BF}" type="datetime1">
              <a:rPr lang="en-US" smtClean="0"/>
              <a:t>12/8/2022</a:t>
            </a:fld>
            <a:endParaRPr lang="en-US"/>
          </a:p>
        </p:txBody>
      </p:sp>
      <p:sp>
        <p:nvSpPr>
          <p:cNvPr id="5" name="Slide Number Placeholder 4">
            <a:extLst>
              <a:ext uri="{FF2B5EF4-FFF2-40B4-BE49-F238E27FC236}">
                <a16:creationId xmlns:a16="http://schemas.microsoft.com/office/drawing/2014/main" id="{B2130BE0-9661-B19A-D06E-7A9E9EA2906E}"/>
              </a:ext>
            </a:extLst>
          </p:cNvPr>
          <p:cNvSpPr>
            <a:spLocks noGrp="1"/>
          </p:cNvSpPr>
          <p:nvPr>
            <p:ph type="sldNum" sz="quarter" idx="12"/>
          </p:nvPr>
        </p:nvSpPr>
        <p:spPr/>
        <p:txBody>
          <a:bodyPr/>
          <a:lstStyle/>
          <a:p>
            <a:fld id="{670A9334-4E67-F94F-A05E-0CE8B74A054E}" type="slidenum">
              <a:rPr lang="en-US" smtClean="0"/>
              <a:pPr/>
              <a:t>25</a:t>
            </a:fld>
            <a:endParaRPr lang="en-US"/>
          </a:p>
        </p:txBody>
      </p:sp>
      <p:sp>
        <p:nvSpPr>
          <p:cNvPr id="7" name="TextBox 6">
            <a:extLst>
              <a:ext uri="{FF2B5EF4-FFF2-40B4-BE49-F238E27FC236}">
                <a16:creationId xmlns:a16="http://schemas.microsoft.com/office/drawing/2014/main" id="{F38BC619-6082-96F2-D86E-548E7925E992}"/>
              </a:ext>
            </a:extLst>
          </p:cNvPr>
          <p:cNvSpPr txBox="1"/>
          <p:nvPr/>
        </p:nvSpPr>
        <p:spPr>
          <a:xfrm>
            <a:off x="752194" y="5302517"/>
            <a:ext cx="10687611" cy="677108"/>
          </a:xfrm>
          <a:prstGeom prst="rect">
            <a:avLst/>
          </a:prstGeom>
          <a:ln w="38100"/>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ea typeface="+mn-lt"/>
                <a:cs typeface="+mn-lt"/>
              </a:rPr>
              <a:t>The 1</a:t>
            </a:r>
            <a:r>
              <a:rPr lang="en-US" sz="2000" baseline="30000">
                <a:ea typeface="+mn-lt"/>
                <a:cs typeface="+mn-lt"/>
              </a:rPr>
              <a:t>st</a:t>
            </a:r>
            <a:r>
              <a:rPr lang="en-US" sz="2000">
                <a:ea typeface="+mn-lt"/>
                <a:cs typeface="+mn-lt"/>
              </a:rPr>
              <a:t> section of your Running Balance (top) reflects all transactions processed through VistA/IFCAP. </a:t>
            </a:r>
            <a:endParaRPr lang="en-US" sz="2000"/>
          </a:p>
          <a:p>
            <a:pPr algn="l"/>
            <a:endParaRPr lang="en-US">
              <a:cs typeface="Calibri"/>
            </a:endParaRPr>
          </a:p>
        </p:txBody>
      </p:sp>
      <p:pic>
        <p:nvPicPr>
          <p:cNvPr id="13" name="Picture 13">
            <a:extLst>
              <a:ext uri="{FF2B5EF4-FFF2-40B4-BE49-F238E27FC236}">
                <a16:creationId xmlns:a16="http://schemas.microsoft.com/office/drawing/2014/main" id="{E200EA0C-DCDB-70BA-251D-9D3B633E3813}"/>
              </a:ext>
            </a:extLst>
          </p:cNvPr>
          <p:cNvPicPr>
            <a:picLocks noGrp="1" noChangeAspect="1"/>
          </p:cNvPicPr>
          <p:nvPr>
            <p:ph idx="1"/>
          </p:nvPr>
        </p:nvPicPr>
        <p:blipFill>
          <a:blip r:embed="rId2"/>
          <a:stretch>
            <a:fillRect/>
          </a:stretch>
        </p:blipFill>
        <p:spPr>
          <a:xfrm>
            <a:off x="971550" y="1129278"/>
            <a:ext cx="10248900" cy="3981450"/>
          </a:xfrm>
          <a:ln w="38100">
            <a:solidFill>
              <a:schemeClr val="accent1"/>
            </a:solidFill>
          </a:ln>
        </p:spPr>
      </p:pic>
    </p:spTree>
    <p:extLst>
      <p:ext uri="{BB962C8B-B14F-4D97-AF65-F5344CB8AC3E}">
        <p14:creationId xmlns:p14="http://schemas.microsoft.com/office/powerpoint/2010/main" val="370646934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7590C5-9720-12E0-DC6D-0D72CF047D5E}"/>
              </a:ext>
            </a:extLst>
          </p:cNvPr>
          <p:cNvSpPr>
            <a:spLocks noGrp="1"/>
          </p:cNvSpPr>
          <p:nvPr>
            <p:ph type="title"/>
          </p:nvPr>
        </p:nvSpPr>
        <p:spPr/>
        <p:txBody>
          <a:bodyPr/>
          <a:lstStyle/>
          <a:p>
            <a:r>
              <a:rPr lang="en-US">
                <a:cs typeface="Calibri Light"/>
              </a:rPr>
              <a:t>Section 2: Running Balance</a:t>
            </a:r>
            <a:endParaRPr lang="en-US" b="0">
              <a:ea typeface="+mj-lt"/>
              <a:cs typeface="+mj-lt"/>
            </a:endParaRPr>
          </a:p>
        </p:txBody>
      </p:sp>
      <p:sp>
        <p:nvSpPr>
          <p:cNvPr id="4" name="Date Placeholder 3">
            <a:extLst>
              <a:ext uri="{FF2B5EF4-FFF2-40B4-BE49-F238E27FC236}">
                <a16:creationId xmlns:a16="http://schemas.microsoft.com/office/drawing/2014/main" id="{6765C97F-D0FF-A8C9-08B6-2092F2750A37}"/>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3B825DD3-297E-E750-86AC-8E7F9DCD267C}"/>
              </a:ext>
            </a:extLst>
          </p:cNvPr>
          <p:cNvSpPr>
            <a:spLocks noGrp="1"/>
          </p:cNvSpPr>
          <p:nvPr>
            <p:ph type="sldNum" sz="quarter" idx="12"/>
          </p:nvPr>
        </p:nvSpPr>
        <p:spPr/>
        <p:txBody>
          <a:bodyPr/>
          <a:lstStyle/>
          <a:p>
            <a:fld id="{670A9334-4E67-F94F-A05E-0CE8B74A054E}" type="slidenum">
              <a:rPr lang="en-US" smtClean="0"/>
              <a:t>26</a:t>
            </a:fld>
            <a:endParaRPr lang="en-US"/>
          </a:p>
        </p:txBody>
      </p:sp>
      <p:sp>
        <p:nvSpPr>
          <p:cNvPr id="7" name="TextBox 6">
            <a:extLst>
              <a:ext uri="{FF2B5EF4-FFF2-40B4-BE49-F238E27FC236}">
                <a16:creationId xmlns:a16="http://schemas.microsoft.com/office/drawing/2014/main" id="{635A4168-240A-7F2C-C4C9-66A428FA125F}"/>
              </a:ext>
            </a:extLst>
          </p:cNvPr>
          <p:cNvSpPr txBox="1"/>
          <p:nvPr/>
        </p:nvSpPr>
        <p:spPr>
          <a:xfrm>
            <a:off x="774927" y="5346502"/>
            <a:ext cx="10092871" cy="707886"/>
          </a:xfrm>
          <a:prstGeom prst="rect">
            <a:avLst/>
          </a:prstGeom>
          <a:noFill/>
          <a:ln w="38100">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t>All</a:t>
            </a:r>
            <a:r>
              <a:rPr lang="en-US" sz="2000">
                <a:ea typeface="+mn-lt"/>
                <a:cs typeface="+mn-lt"/>
              </a:rPr>
              <a:t> transactions and payments processed through FMS Section will transmit back to VistA/IFCAP and are listed on the 2</a:t>
            </a:r>
            <a:r>
              <a:rPr lang="en-US" sz="2000" baseline="30000">
                <a:ea typeface="+mn-lt"/>
                <a:cs typeface="+mn-lt"/>
              </a:rPr>
              <a:t>nd</a:t>
            </a:r>
            <a:r>
              <a:rPr lang="en-US" sz="2000">
                <a:ea typeface="+mn-lt"/>
                <a:cs typeface="+mn-lt"/>
              </a:rPr>
              <a:t> section (bottom) of the running balance.</a:t>
            </a:r>
            <a:endParaRPr lang="en-US" sz="2000"/>
          </a:p>
        </p:txBody>
      </p:sp>
      <p:pic>
        <p:nvPicPr>
          <p:cNvPr id="10" name="Picture 10">
            <a:extLst>
              <a:ext uri="{FF2B5EF4-FFF2-40B4-BE49-F238E27FC236}">
                <a16:creationId xmlns:a16="http://schemas.microsoft.com/office/drawing/2014/main" id="{4BE78E9C-1F7F-F2F4-748C-C4F81999F187}"/>
              </a:ext>
            </a:extLst>
          </p:cNvPr>
          <p:cNvPicPr>
            <a:picLocks noGrp="1" noChangeAspect="1"/>
          </p:cNvPicPr>
          <p:nvPr>
            <p:ph idx="1"/>
          </p:nvPr>
        </p:nvPicPr>
        <p:blipFill>
          <a:blip r:embed="rId2"/>
          <a:stretch>
            <a:fillRect/>
          </a:stretch>
        </p:blipFill>
        <p:spPr>
          <a:xfrm>
            <a:off x="590323" y="1041513"/>
            <a:ext cx="10277475" cy="4048125"/>
          </a:xfrm>
        </p:spPr>
      </p:pic>
    </p:spTree>
    <p:extLst>
      <p:ext uri="{BB962C8B-B14F-4D97-AF65-F5344CB8AC3E}">
        <p14:creationId xmlns:p14="http://schemas.microsoft.com/office/powerpoint/2010/main" val="9705696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DE107C-22BA-DAB0-0834-B0BE66FF1729}"/>
              </a:ext>
            </a:extLst>
          </p:cNvPr>
          <p:cNvSpPr>
            <a:spLocks noGrp="1"/>
          </p:cNvSpPr>
          <p:nvPr>
            <p:ph type="title"/>
          </p:nvPr>
        </p:nvSpPr>
        <p:spPr/>
        <p:txBody>
          <a:bodyPr/>
          <a:lstStyle/>
          <a:p>
            <a:r>
              <a:rPr lang="en-US">
                <a:ea typeface="+mj-lt"/>
                <a:cs typeface="+mj-lt"/>
              </a:rPr>
              <a:t>Section 2: Running Balance</a:t>
            </a:r>
            <a:endParaRPr lang="en-US" b="0">
              <a:ea typeface="+mj-lt"/>
              <a:cs typeface="+mj-lt"/>
            </a:endParaRPr>
          </a:p>
        </p:txBody>
      </p:sp>
      <p:sp>
        <p:nvSpPr>
          <p:cNvPr id="4" name="Date Placeholder 3">
            <a:extLst>
              <a:ext uri="{FF2B5EF4-FFF2-40B4-BE49-F238E27FC236}">
                <a16:creationId xmlns:a16="http://schemas.microsoft.com/office/drawing/2014/main" id="{7BC05C35-4E01-8D7A-1EF0-317B3E8838CE}"/>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DF7FFCCF-0717-518A-887D-BA53D85532BF}"/>
              </a:ext>
            </a:extLst>
          </p:cNvPr>
          <p:cNvSpPr>
            <a:spLocks noGrp="1"/>
          </p:cNvSpPr>
          <p:nvPr>
            <p:ph type="sldNum" sz="quarter" idx="12"/>
          </p:nvPr>
        </p:nvSpPr>
        <p:spPr/>
        <p:txBody>
          <a:bodyPr/>
          <a:lstStyle/>
          <a:p>
            <a:fld id="{670A9334-4E67-F94F-A05E-0CE8B74A054E}" type="slidenum">
              <a:rPr lang="en-US" smtClean="0"/>
              <a:t>27</a:t>
            </a:fld>
            <a:endParaRPr lang="en-US"/>
          </a:p>
        </p:txBody>
      </p:sp>
      <p:sp>
        <p:nvSpPr>
          <p:cNvPr id="7" name="TextBox 6">
            <a:extLst>
              <a:ext uri="{FF2B5EF4-FFF2-40B4-BE49-F238E27FC236}">
                <a16:creationId xmlns:a16="http://schemas.microsoft.com/office/drawing/2014/main" id="{D66E3AA3-0289-2F01-56A0-840D182742E1}"/>
              </a:ext>
            </a:extLst>
          </p:cNvPr>
          <p:cNvSpPr txBox="1"/>
          <p:nvPr/>
        </p:nvSpPr>
        <p:spPr>
          <a:xfrm>
            <a:off x="284843" y="4611913"/>
            <a:ext cx="11433628" cy="1477328"/>
          </a:xfrm>
          <a:prstGeom prst="rect">
            <a:avLst/>
          </a:prstGeom>
          <a:noFill/>
          <a:ln w="38100">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cs typeface="Calibri"/>
              </a:rPr>
              <a:t>The final section of the Running Balance shows you:</a:t>
            </a:r>
          </a:p>
          <a:p>
            <a:r>
              <a:rPr lang="en-US">
                <a:cs typeface="Calibri"/>
              </a:rPr>
              <a:t>1) The Actual CP Balance:  This is the amount unobligated remaining in the FCP and includes pending transactions.</a:t>
            </a:r>
          </a:p>
          <a:p>
            <a:r>
              <a:rPr lang="en-US">
                <a:cs typeface="Calibri"/>
              </a:rPr>
              <a:t>2) Actual Fiscal Balance:  This is the amount unobligated and does not include pending transactions.  It should match the unobligated amount on the SOA if your Fiscal balances to IFCAP.</a:t>
            </a:r>
          </a:p>
          <a:p>
            <a:r>
              <a:rPr lang="en-US">
                <a:cs typeface="Calibri"/>
              </a:rPr>
              <a:t>3) Total Commit, not Obl:  This is the committed amount that is pending obligation.  </a:t>
            </a:r>
          </a:p>
        </p:txBody>
      </p:sp>
      <p:pic>
        <p:nvPicPr>
          <p:cNvPr id="10" name="Picture 10">
            <a:extLst>
              <a:ext uri="{FF2B5EF4-FFF2-40B4-BE49-F238E27FC236}">
                <a16:creationId xmlns:a16="http://schemas.microsoft.com/office/drawing/2014/main" id="{C873E32D-19BA-318C-D687-42D010D02D30}"/>
              </a:ext>
            </a:extLst>
          </p:cNvPr>
          <p:cNvPicPr>
            <a:picLocks noGrp="1" noChangeAspect="1"/>
          </p:cNvPicPr>
          <p:nvPr>
            <p:ph idx="1"/>
          </p:nvPr>
        </p:nvPicPr>
        <p:blipFill>
          <a:blip r:embed="rId2"/>
          <a:stretch>
            <a:fillRect/>
          </a:stretch>
        </p:blipFill>
        <p:spPr>
          <a:xfrm>
            <a:off x="473529" y="746423"/>
            <a:ext cx="10219978" cy="3865490"/>
          </a:xfrm>
        </p:spPr>
      </p:pic>
    </p:spTree>
    <p:extLst>
      <p:ext uri="{BB962C8B-B14F-4D97-AF65-F5344CB8AC3E}">
        <p14:creationId xmlns:p14="http://schemas.microsoft.com/office/powerpoint/2010/main" val="24383053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EC5419-FE86-FC57-3724-724E1D2D61E0}"/>
              </a:ext>
            </a:extLst>
          </p:cNvPr>
          <p:cNvSpPr>
            <a:spLocks noGrp="1"/>
          </p:cNvSpPr>
          <p:nvPr>
            <p:ph type="title"/>
          </p:nvPr>
        </p:nvSpPr>
        <p:spPr/>
        <p:txBody>
          <a:bodyPr/>
          <a:lstStyle/>
          <a:p>
            <a:r>
              <a:rPr lang="en-US">
                <a:cs typeface="Calibri Light"/>
              </a:rPr>
              <a:t>Section 2: Running Balance</a:t>
            </a:r>
            <a:endParaRPr lang="en-US" b="0">
              <a:ea typeface="+mj-lt"/>
              <a:cs typeface="+mj-lt"/>
            </a:endParaRPr>
          </a:p>
        </p:txBody>
      </p:sp>
      <p:sp>
        <p:nvSpPr>
          <p:cNvPr id="4" name="Date Placeholder 3">
            <a:extLst>
              <a:ext uri="{FF2B5EF4-FFF2-40B4-BE49-F238E27FC236}">
                <a16:creationId xmlns:a16="http://schemas.microsoft.com/office/drawing/2014/main" id="{FF9AAE60-2F17-C95C-ACC3-42C539A47D27}"/>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B486FD55-83F5-0A8D-2C1C-576BA186B042}"/>
              </a:ext>
            </a:extLst>
          </p:cNvPr>
          <p:cNvSpPr>
            <a:spLocks noGrp="1"/>
          </p:cNvSpPr>
          <p:nvPr>
            <p:ph type="sldNum" sz="quarter" idx="12"/>
          </p:nvPr>
        </p:nvSpPr>
        <p:spPr/>
        <p:txBody>
          <a:bodyPr/>
          <a:lstStyle/>
          <a:p>
            <a:fld id="{670A9334-4E67-F94F-A05E-0CE8B74A054E}" type="slidenum">
              <a:rPr lang="en-US" smtClean="0"/>
              <a:t>28</a:t>
            </a:fld>
            <a:endParaRPr lang="en-US"/>
          </a:p>
        </p:txBody>
      </p:sp>
      <p:pic>
        <p:nvPicPr>
          <p:cNvPr id="7" name="Picture 10">
            <a:extLst>
              <a:ext uri="{FF2B5EF4-FFF2-40B4-BE49-F238E27FC236}">
                <a16:creationId xmlns:a16="http://schemas.microsoft.com/office/drawing/2014/main" id="{44B317A0-572D-99A3-AA51-DFC12D022539}"/>
              </a:ext>
            </a:extLst>
          </p:cNvPr>
          <p:cNvPicPr>
            <a:picLocks noChangeAspect="1"/>
          </p:cNvPicPr>
          <p:nvPr/>
        </p:nvPicPr>
        <p:blipFill>
          <a:blip r:embed="rId2"/>
          <a:stretch>
            <a:fillRect/>
          </a:stretch>
        </p:blipFill>
        <p:spPr>
          <a:xfrm>
            <a:off x="167367" y="995022"/>
            <a:ext cx="10325100" cy="3905250"/>
          </a:xfrm>
          <a:prstGeom prst="rect">
            <a:avLst/>
          </a:prstGeom>
        </p:spPr>
      </p:pic>
      <p:sp>
        <p:nvSpPr>
          <p:cNvPr id="8" name="TextBox 1">
            <a:extLst>
              <a:ext uri="{FF2B5EF4-FFF2-40B4-BE49-F238E27FC236}">
                <a16:creationId xmlns:a16="http://schemas.microsoft.com/office/drawing/2014/main" id="{1C35EF09-7FC8-ACD0-6480-BCE4FA58D6B8}"/>
              </a:ext>
            </a:extLst>
          </p:cNvPr>
          <p:cNvSpPr txBox="1"/>
          <p:nvPr/>
        </p:nvSpPr>
        <p:spPr>
          <a:xfrm>
            <a:off x="500744" y="4982028"/>
            <a:ext cx="10038441" cy="707886"/>
          </a:xfrm>
          <a:prstGeom prst="rect">
            <a:avLst/>
          </a:prstGeom>
          <a:noFill/>
          <a:ln w="38100">
            <a:solidFill>
              <a:schemeClr val="accent1"/>
            </a:solidFill>
          </a:ln>
        </p:spPr>
        <p:txBody>
          <a:bodyPr rot="0" spcFirstLastPara="0" vert="horz" wrap="square" lIns="91440" tIns="45720" rIns="91440" bIns="45720" numCol="1" spcCol="0" rtlCol="0" fromWordArt="0" anchor="t" anchorCtr="0" forceAA="0" compatLnSpc="1">
            <a:prstTxWarp prst="textNoShape">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000"/>
              <a:t>Pay attention to orders with these symbols as they are incomplete items.  Particularly important when closing out prior year funds as you will need to know about any open orders.</a:t>
            </a:r>
            <a:endParaRPr lang="en-US" sz="2000">
              <a:cs typeface="Calibri"/>
            </a:endParaRPr>
          </a:p>
        </p:txBody>
      </p:sp>
      <p:cxnSp>
        <p:nvCxnSpPr>
          <p:cNvPr id="9" name="Straight Arrow Connector 8">
            <a:extLst>
              <a:ext uri="{FF2B5EF4-FFF2-40B4-BE49-F238E27FC236}">
                <a16:creationId xmlns:a16="http://schemas.microsoft.com/office/drawing/2014/main" id="{88455BF6-894F-A233-9735-B26AF1B2A82A}"/>
              </a:ext>
            </a:extLst>
          </p:cNvPr>
          <p:cNvCxnSpPr/>
          <p:nvPr/>
        </p:nvCxnSpPr>
        <p:spPr>
          <a:xfrm>
            <a:off x="1538514" y="2137228"/>
            <a:ext cx="914399" cy="914399"/>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31346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34B2B-00B8-4DE1-B9F5-FAEDF7053972}"/>
              </a:ext>
            </a:extLst>
          </p:cNvPr>
          <p:cNvSpPr>
            <a:spLocks noGrp="1"/>
          </p:cNvSpPr>
          <p:nvPr>
            <p:ph type="title"/>
          </p:nvPr>
        </p:nvSpPr>
        <p:spPr/>
        <p:txBody>
          <a:bodyPr/>
          <a:lstStyle/>
          <a:p>
            <a:r>
              <a:rPr lang="en-US"/>
              <a:t>Section 2: F20D</a:t>
            </a:r>
          </a:p>
        </p:txBody>
      </p:sp>
      <p:sp>
        <p:nvSpPr>
          <p:cNvPr id="4" name="Date Placeholder 3">
            <a:extLst>
              <a:ext uri="{FF2B5EF4-FFF2-40B4-BE49-F238E27FC236}">
                <a16:creationId xmlns:a16="http://schemas.microsoft.com/office/drawing/2014/main" id="{B0EC734C-BAED-4D0A-AD73-EDDB5B68D627}"/>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6627305E-53C2-4A8B-BBE1-BA03BF7533AC}"/>
              </a:ext>
            </a:extLst>
          </p:cNvPr>
          <p:cNvSpPr>
            <a:spLocks noGrp="1"/>
          </p:cNvSpPr>
          <p:nvPr>
            <p:ph type="sldNum" sz="quarter" idx="12"/>
          </p:nvPr>
        </p:nvSpPr>
        <p:spPr/>
        <p:txBody>
          <a:bodyPr/>
          <a:lstStyle/>
          <a:p>
            <a:fld id="{670A9334-4E67-F94F-A05E-0CE8B74A054E}" type="slidenum">
              <a:rPr lang="en-US" smtClean="0"/>
              <a:t>29</a:t>
            </a:fld>
            <a:endParaRPr lang="en-US"/>
          </a:p>
        </p:txBody>
      </p:sp>
      <p:sp>
        <p:nvSpPr>
          <p:cNvPr id="6" name="Content Placeholder 5">
            <a:extLst>
              <a:ext uri="{FF2B5EF4-FFF2-40B4-BE49-F238E27FC236}">
                <a16:creationId xmlns:a16="http://schemas.microsoft.com/office/drawing/2014/main" id="{74693377-7992-46DE-A0F2-9888B9FA4AED}"/>
              </a:ext>
            </a:extLst>
          </p:cNvPr>
          <p:cNvSpPr>
            <a:spLocks noGrp="1"/>
          </p:cNvSpPr>
          <p:nvPr>
            <p:ph idx="1"/>
          </p:nvPr>
        </p:nvSpPr>
        <p:spPr>
          <a:xfrm>
            <a:off x="190046" y="1044121"/>
            <a:ext cx="10515600" cy="4351338"/>
          </a:xfrm>
        </p:spPr>
        <p:txBody>
          <a:bodyPr vert="horz" lIns="91440" tIns="45720" rIns="91440" bIns="45720" rtlCol="0" anchor="t">
            <a:noAutofit/>
          </a:bodyPr>
          <a:lstStyle/>
          <a:p>
            <a:r>
              <a:rPr lang="en-US">
                <a:ea typeface="+mn-lt"/>
                <a:cs typeface="+mn-lt"/>
              </a:rPr>
              <a:t>The F20D report in the VSSC allows you to view obligations that have hit FMS on a daily basis. It also allows you to review obligations for a specific date range.</a:t>
            </a:r>
            <a:endParaRPr lang="en-US">
              <a:cs typeface="Calibri" panose="020F0502020204030204"/>
            </a:endParaRPr>
          </a:p>
          <a:p>
            <a:endParaRPr lang="en-US">
              <a:cs typeface="Calibri" panose="020F0502020204030204"/>
            </a:endParaRPr>
          </a:p>
        </p:txBody>
      </p:sp>
      <p:pic>
        <p:nvPicPr>
          <p:cNvPr id="3" name="Picture 6">
            <a:extLst>
              <a:ext uri="{FF2B5EF4-FFF2-40B4-BE49-F238E27FC236}">
                <a16:creationId xmlns:a16="http://schemas.microsoft.com/office/drawing/2014/main" id="{0AB1A725-7DA8-68AA-B6CB-34BF025A39C6}"/>
              </a:ext>
            </a:extLst>
          </p:cNvPr>
          <p:cNvPicPr>
            <a:picLocks noChangeAspect="1"/>
          </p:cNvPicPr>
          <p:nvPr/>
        </p:nvPicPr>
        <p:blipFill>
          <a:blip r:embed="rId3"/>
          <a:stretch>
            <a:fillRect/>
          </a:stretch>
        </p:blipFill>
        <p:spPr>
          <a:xfrm>
            <a:off x="3409043" y="1966433"/>
            <a:ext cx="6054271" cy="3909471"/>
          </a:xfrm>
          <a:prstGeom prst="rect">
            <a:avLst/>
          </a:prstGeom>
          <a:ln w="38100">
            <a:solidFill>
              <a:schemeClr val="accent1"/>
            </a:solidFill>
          </a:ln>
        </p:spPr>
      </p:pic>
    </p:spTree>
    <p:extLst>
      <p:ext uri="{BB962C8B-B14F-4D97-AF65-F5344CB8AC3E}">
        <p14:creationId xmlns:p14="http://schemas.microsoft.com/office/powerpoint/2010/main" val="2166474339"/>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a:t>Objectives – for today’s training</a:t>
            </a:r>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4237229871"/>
              </p:ext>
            </p:extLst>
          </p:nvPr>
        </p:nvGraphicFramePr>
        <p:xfrm>
          <a:off x="818728" y="873907"/>
          <a:ext cx="10554544" cy="5092366"/>
        </p:xfrm>
        <a:graphic>
          <a:graphicData uri="http://schemas.openxmlformats.org/drawingml/2006/table">
            <a:tbl>
              <a:tblPr firstRow="1" bandRow="1">
                <a:tableStyleId>{5C22544A-7EE6-4342-B048-85BDC9FD1C3A}</a:tableStyleId>
              </a:tblPr>
              <a:tblGrid>
                <a:gridCol w="5125940">
                  <a:extLst>
                    <a:ext uri="{9D8B030D-6E8A-4147-A177-3AD203B41FA5}">
                      <a16:colId xmlns:a16="http://schemas.microsoft.com/office/drawing/2014/main" val="1139615655"/>
                    </a:ext>
                  </a:extLst>
                </a:gridCol>
                <a:gridCol w="5428604">
                  <a:extLst>
                    <a:ext uri="{9D8B030D-6E8A-4147-A177-3AD203B41FA5}">
                      <a16:colId xmlns:a16="http://schemas.microsoft.com/office/drawing/2014/main" val="2542939416"/>
                    </a:ext>
                  </a:extLst>
                </a:gridCol>
              </a:tblGrid>
              <a:tr h="701877">
                <a:tc>
                  <a:txBody>
                    <a:bodyPr/>
                    <a:lstStyle/>
                    <a:p>
                      <a:pPr algn="ctr"/>
                      <a:endParaRPr lang="en-US" sz="1600"/>
                    </a:p>
                    <a:p>
                      <a:pPr algn="ctr"/>
                      <a:r>
                        <a:rPr lang="en-US" sz="1800"/>
                        <a:t>Training Section:</a:t>
                      </a:r>
                    </a:p>
                    <a:p>
                      <a:endParaRPr lang="en-US" sz="1600"/>
                    </a:p>
                  </a:txBody>
                  <a:tcPr/>
                </a:tc>
                <a:tc>
                  <a:txBody>
                    <a:bodyPr/>
                    <a:lstStyle/>
                    <a:p>
                      <a:pPr algn="ctr"/>
                      <a:endParaRPr lang="en-US" sz="1400"/>
                    </a:p>
                    <a:p>
                      <a:pPr algn="ctr"/>
                      <a:r>
                        <a:rPr lang="en-US" sz="1800"/>
                        <a:t>By the end of this section, you will:</a:t>
                      </a:r>
                    </a:p>
                    <a:p>
                      <a:endParaRPr lang="en-US" sz="1400"/>
                    </a:p>
                  </a:txBody>
                  <a:tcPr/>
                </a:tc>
                <a:extLst>
                  <a:ext uri="{0D108BD9-81ED-4DB2-BD59-A6C34878D82A}">
                    <a16:rowId xmlns:a16="http://schemas.microsoft.com/office/drawing/2014/main" val="3500140859"/>
                  </a:ext>
                </a:extLst>
              </a:tr>
              <a:tr h="1015215">
                <a:tc>
                  <a:txBody>
                    <a:bodyPr/>
                    <a:lstStyle/>
                    <a:p>
                      <a:r>
                        <a:rPr lang="en-US" sz="1600" b="1"/>
                        <a:t>Introduction: </a:t>
                      </a:r>
                      <a:r>
                        <a:rPr lang="en-US" sz="1600" b="0"/>
                        <a:t>FY 23 Appropriation Status and Update on the Continuing Resolution and Update from IAA Training </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Update on FY 23 Appropriation and C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Update on requirement for OGC review form IAA Training on (10/19)</a:t>
                      </a:r>
                    </a:p>
                  </a:txBody>
                  <a:tcPr/>
                </a:tc>
                <a:extLst>
                  <a:ext uri="{0D108BD9-81ED-4DB2-BD59-A6C34878D82A}">
                    <a16:rowId xmlns:a16="http://schemas.microsoft.com/office/drawing/2014/main" val="3088221006"/>
                  </a:ext>
                </a:extLst>
              </a:tr>
              <a:tr h="827212">
                <a:tc>
                  <a:txBody>
                    <a:bodyPr/>
                    <a:lstStyle/>
                    <a:p>
                      <a:r>
                        <a:rPr lang="en-US" sz="1600" b="1"/>
                        <a:t>Section 1: </a:t>
                      </a:r>
                      <a:r>
                        <a:rPr lang="en-US" sz="1600" b="0"/>
                        <a:t>The importance of Status of Allowance (SOA)</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Understand key ter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Understand impact of different activities on the SO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Understand the need to keep up with the SO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500"/>
                        <a:t>Managing under the Continuing Resolution</a:t>
                      </a:r>
                    </a:p>
                  </a:txBody>
                  <a:tcPr/>
                </a:tc>
                <a:extLst>
                  <a:ext uri="{0D108BD9-81ED-4DB2-BD59-A6C34878D82A}">
                    <a16:rowId xmlns:a16="http://schemas.microsoft.com/office/drawing/2014/main" val="2625333109"/>
                  </a:ext>
                </a:extLst>
              </a:tr>
              <a:tr h="827212">
                <a:tc>
                  <a:txBody>
                    <a:bodyPr/>
                    <a:lstStyle/>
                    <a:p>
                      <a:r>
                        <a:rPr lang="en-US" sz="1600" b="1"/>
                        <a:t>Section 2: </a:t>
                      </a:r>
                      <a:r>
                        <a:rPr lang="en-US" sz="1600" b="0"/>
                        <a:t>How to Get, Read and Interpret the SOA</a:t>
                      </a:r>
                    </a:p>
                  </a:txBody>
                  <a:tcPr/>
                </a:tc>
                <a:tc>
                  <a:txBody>
                    <a:bodyPr/>
                    <a:lstStyle/>
                    <a:p>
                      <a:pPr marL="285750" indent="-285750">
                        <a:buFont typeface="Arial" panose="020B0604020202020204" pitchFamily="34" charset="0"/>
                        <a:buChar char="•"/>
                      </a:pPr>
                      <a:r>
                        <a:rPr lang="en-US" sz="1500"/>
                        <a:t>Understand where to find the SOA</a:t>
                      </a:r>
                    </a:p>
                    <a:p>
                      <a:pPr marL="285750" indent="-285750">
                        <a:buFont typeface="Arial" panose="020B0604020202020204" pitchFamily="34" charset="0"/>
                        <a:buChar char="•"/>
                      </a:pPr>
                      <a:r>
                        <a:rPr lang="en-US" sz="1500"/>
                        <a:t>Understand the different formats</a:t>
                      </a:r>
                    </a:p>
                    <a:p>
                      <a:pPr marL="285750" indent="-285750">
                        <a:buFont typeface="Arial" panose="020B0604020202020204" pitchFamily="34" charset="0"/>
                        <a:buChar char="•"/>
                      </a:pPr>
                      <a:r>
                        <a:rPr lang="en-US" sz="1500"/>
                        <a:t>Understand other tools that are needed (RAFT, AACS, Running Balance, VSSC F20)</a:t>
                      </a:r>
                    </a:p>
                  </a:txBody>
                  <a:tcPr/>
                </a:tc>
                <a:extLst>
                  <a:ext uri="{0D108BD9-81ED-4DB2-BD59-A6C34878D82A}">
                    <a16:rowId xmlns:a16="http://schemas.microsoft.com/office/drawing/2014/main" val="4110461937"/>
                  </a:ext>
                </a:extLst>
              </a:tr>
              <a:tr h="639209">
                <a:tc>
                  <a:txBody>
                    <a:bodyPr/>
                    <a:lstStyle/>
                    <a:p>
                      <a:r>
                        <a:rPr lang="en-US" sz="1600" b="1"/>
                        <a:t>Section 3: </a:t>
                      </a:r>
                      <a:r>
                        <a:rPr lang="en-US" sz="1600" b="0"/>
                        <a:t>Balancing </a:t>
                      </a:r>
                    </a:p>
                  </a:txBody>
                  <a:tcPr/>
                </a:tc>
                <a:tc>
                  <a:txBody>
                    <a:bodyPr/>
                    <a:lstStyle/>
                    <a:p>
                      <a:pPr marL="285750" indent="-285750">
                        <a:buFont typeface="Arial" panose="020B0604020202020204" pitchFamily="34" charset="0"/>
                        <a:buChar char="•"/>
                      </a:pPr>
                      <a:r>
                        <a:rPr lang="en-US" sz="1500"/>
                        <a:t>Understand how to Balance the Ceilings</a:t>
                      </a:r>
                    </a:p>
                    <a:p>
                      <a:pPr marL="285750" indent="-285750">
                        <a:buFont typeface="Arial" panose="020B0604020202020204" pitchFamily="34" charset="0"/>
                        <a:buChar char="•"/>
                      </a:pPr>
                      <a:r>
                        <a:rPr lang="en-US" sz="1500"/>
                        <a:t>Understand how to track Salaries</a:t>
                      </a:r>
                    </a:p>
                    <a:p>
                      <a:pPr marL="285750" indent="-285750">
                        <a:buFont typeface="Arial" panose="020B0604020202020204" pitchFamily="34" charset="0"/>
                        <a:buChar char="•"/>
                      </a:pPr>
                      <a:r>
                        <a:rPr lang="en-US" sz="1500"/>
                        <a:t>Understand how to track expenditures</a:t>
                      </a:r>
                    </a:p>
                  </a:txBody>
                  <a:tcPr/>
                </a:tc>
                <a:extLst>
                  <a:ext uri="{0D108BD9-81ED-4DB2-BD59-A6C34878D82A}">
                    <a16:rowId xmlns:a16="http://schemas.microsoft.com/office/drawing/2014/main" val="4083256238"/>
                  </a:ext>
                </a:extLst>
              </a:tr>
              <a:tr h="43479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a:t>Q&amp;A</a:t>
                      </a:r>
                      <a:endParaRPr lang="en-US" sz="1600"/>
                    </a:p>
                  </a:txBody>
                  <a:tcPr/>
                </a:tc>
                <a:tc hMerge="1">
                  <a:txBody>
                    <a:bodyPr/>
                    <a:lstStyle/>
                    <a:p>
                      <a:pPr marL="0" indent="0">
                        <a:buFont typeface="Arial" panose="020B0604020202020204" pitchFamily="34" charset="0"/>
                        <a:buNone/>
                      </a:pPr>
                      <a:endParaRPr lang="en-US"/>
                    </a:p>
                  </a:txBody>
                  <a:tcPr/>
                </a:tc>
                <a:extLst>
                  <a:ext uri="{0D108BD9-81ED-4DB2-BD59-A6C34878D82A}">
                    <a16:rowId xmlns:a16="http://schemas.microsoft.com/office/drawing/2014/main" val="2996161857"/>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3</a:t>
            </a:fld>
            <a:endParaRPr lang="en-US"/>
          </a:p>
        </p:txBody>
      </p:sp>
    </p:spTree>
    <p:extLst>
      <p:ext uri="{BB962C8B-B14F-4D97-AF65-F5344CB8AC3E}">
        <p14:creationId xmlns:p14="http://schemas.microsoft.com/office/powerpoint/2010/main" val="41205654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F3A581-3402-0570-C0AB-DE40CDAC7BA5}"/>
              </a:ext>
            </a:extLst>
          </p:cNvPr>
          <p:cNvSpPr>
            <a:spLocks noGrp="1"/>
          </p:cNvSpPr>
          <p:nvPr>
            <p:ph type="title"/>
          </p:nvPr>
        </p:nvSpPr>
        <p:spPr/>
        <p:txBody>
          <a:bodyPr/>
          <a:lstStyle/>
          <a:p>
            <a:r>
              <a:rPr lang="en-US">
                <a:ea typeface="+mj-lt"/>
                <a:cs typeface="+mj-lt"/>
              </a:rPr>
              <a:t>Section 2: F20</a:t>
            </a:r>
          </a:p>
        </p:txBody>
      </p:sp>
      <p:sp>
        <p:nvSpPr>
          <p:cNvPr id="3" name="Content Placeholder 2">
            <a:extLst>
              <a:ext uri="{FF2B5EF4-FFF2-40B4-BE49-F238E27FC236}">
                <a16:creationId xmlns:a16="http://schemas.microsoft.com/office/drawing/2014/main" id="{7DCAC89B-F9FA-6965-F1FB-3CFCC7DB7C0C}"/>
              </a:ext>
            </a:extLst>
          </p:cNvPr>
          <p:cNvSpPr>
            <a:spLocks noGrp="1"/>
          </p:cNvSpPr>
          <p:nvPr>
            <p:ph idx="1"/>
          </p:nvPr>
        </p:nvSpPr>
        <p:spPr>
          <a:xfrm>
            <a:off x="489404" y="980621"/>
            <a:ext cx="10515600" cy="704624"/>
          </a:xfrm>
        </p:spPr>
        <p:txBody>
          <a:bodyPr vert="horz" lIns="91440" tIns="45720" rIns="91440" bIns="45720" rtlCol="0" anchor="t">
            <a:noAutofit/>
          </a:bodyPr>
          <a:lstStyle/>
          <a:p>
            <a:pPr marL="0" indent="0">
              <a:buNone/>
            </a:pPr>
            <a:r>
              <a:rPr lang="en-US">
                <a:ea typeface="+mn-lt"/>
                <a:cs typeface="+mn-lt"/>
              </a:rPr>
              <a:t>*</a:t>
            </a:r>
            <a:r>
              <a:rPr lang="en-US">
                <a:solidFill>
                  <a:schemeClr val="accent4"/>
                </a:solidFill>
                <a:ea typeface="+mn-lt"/>
                <a:cs typeface="+mn-lt"/>
              </a:rPr>
              <a:t>Orange</a:t>
            </a:r>
            <a:r>
              <a:rPr lang="en-US">
                <a:ea typeface="+mn-lt"/>
                <a:cs typeface="+mn-lt"/>
              </a:rPr>
              <a:t> is normal Pay    *</a:t>
            </a:r>
            <a:r>
              <a:rPr lang="en-US">
                <a:solidFill>
                  <a:schemeClr val="accent6"/>
                </a:solidFill>
                <a:ea typeface="+mn-lt"/>
                <a:cs typeface="+mn-lt"/>
              </a:rPr>
              <a:t>Green</a:t>
            </a:r>
            <a:r>
              <a:rPr lang="en-US">
                <a:ea typeface="+mn-lt"/>
                <a:cs typeface="+mn-lt"/>
              </a:rPr>
              <a:t> is PY Pay    *</a:t>
            </a:r>
            <a:r>
              <a:rPr lang="en-US">
                <a:solidFill>
                  <a:schemeClr val="accent1"/>
                </a:solidFill>
                <a:ea typeface="+mn-lt"/>
                <a:cs typeface="+mn-lt"/>
              </a:rPr>
              <a:t>Blue</a:t>
            </a:r>
            <a:r>
              <a:rPr lang="en-US">
                <a:ea typeface="+mn-lt"/>
                <a:cs typeface="+mn-lt"/>
              </a:rPr>
              <a:t> is a reject</a:t>
            </a:r>
            <a:endParaRPr lang="en-US">
              <a:cs typeface="Calibri"/>
            </a:endParaRPr>
          </a:p>
          <a:p>
            <a:endParaRPr lang="en-US">
              <a:cs typeface="Calibri"/>
            </a:endParaRPr>
          </a:p>
        </p:txBody>
      </p:sp>
      <p:sp>
        <p:nvSpPr>
          <p:cNvPr id="4" name="Date Placeholder 3">
            <a:extLst>
              <a:ext uri="{FF2B5EF4-FFF2-40B4-BE49-F238E27FC236}">
                <a16:creationId xmlns:a16="http://schemas.microsoft.com/office/drawing/2014/main" id="{7509A12C-6CEC-07ED-E360-23DB0A94FEA2}"/>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26C0F9D5-3FB4-3390-5AA2-B2FAB76369F0}"/>
              </a:ext>
            </a:extLst>
          </p:cNvPr>
          <p:cNvSpPr>
            <a:spLocks noGrp="1"/>
          </p:cNvSpPr>
          <p:nvPr>
            <p:ph type="sldNum" sz="quarter" idx="12"/>
          </p:nvPr>
        </p:nvSpPr>
        <p:spPr/>
        <p:txBody>
          <a:bodyPr/>
          <a:lstStyle/>
          <a:p>
            <a:fld id="{670A9334-4E67-F94F-A05E-0CE8B74A054E}" type="slidenum">
              <a:rPr lang="en-US" smtClean="0"/>
              <a:t>30</a:t>
            </a:fld>
            <a:endParaRPr lang="en-US"/>
          </a:p>
        </p:txBody>
      </p:sp>
      <p:pic>
        <p:nvPicPr>
          <p:cNvPr id="6" name="Picture 6">
            <a:extLst>
              <a:ext uri="{FF2B5EF4-FFF2-40B4-BE49-F238E27FC236}">
                <a16:creationId xmlns:a16="http://schemas.microsoft.com/office/drawing/2014/main" id="{89F3DD8F-18FB-8F7E-8C00-BB38C38FF763}"/>
              </a:ext>
            </a:extLst>
          </p:cNvPr>
          <p:cNvPicPr>
            <a:picLocks noChangeAspect="1"/>
          </p:cNvPicPr>
          <p:nvPr/>
        </p:nvPicPr>
        <p:blipFill>
          <a:blip r:embed="rId2"/>
          <a:stretch>
            <a:fillRect/>
          </a:stretch>
        </p:blipFill>
        <p:spPr>
          <a:xfrm>
            <a:off x="424543" y="1533223"/>
            <a:ext cx="11315225" cy="4344156"/>
          </a:xfrm>
          <a:prstGeom prst="rect">
            <a:avLst/>
          </a:prstGeom>
          <a:ln w="38100">
            <a:solidFill>
              <a:schemeClr val="accent1"/>
            </a:solidFill>
          </a:ln>
        </p:spPr>
      </p:pic>
    </p:spTree>
    <p:extLst>
      <p:ext uri="{BB962C8B-B14F-4D97-AF65-F5344CB8AC3E}">
        <p14:creationId xmlns:p14="http://schemas.microsoft.com/office/powerpoint/2010/main" val="270433036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092D11-1727-9C02-7462-704628188D34}"/>
              </a:ext>
            </a:extLst>
          </p:cNvPr>
          <p:cNvSpPr>
            <a:spLocks noGrp="1"/>
          </p:cNvSpPr>
          <p:nvPr>
            <p:ph type="title"/>
          </p:nvPr>
        </p:nvSpPr>
        <p:spPr/>
        <p:txBody>
          <a:bodyPr/>
          <a:lstStyle/>
          <a:p>
            <a:r>
              <a:rPr lang="en-US">
                <a:ea typeface="+mj-lt"/>
                <a:cs typeface="+mj-lt"/>
              </a:rPr>
              <a:t>Section 2: Open Purchase Card Menu</a:t>
            </a:r>
            <a:endParaRPr lang="en-US" b="0">
              <a:ea typeface="+mj-lt"/>
              <a:cs typeface="+mj-lt"/>
            </a:endParaRPr>
          </a:p>
        </p:txBody>
      </p:sp>
      <p:sp>
        <p:nvSpPr>
          <p:cNvPr id="3" name="Content Placeholder 2">
            <a:extLst>
              <a:ext uri="{FF2B5EF4-FFF2-40B4-BE49-F238E27FC236}">
                <a16:creationId xmlns:a16="http://schemas.microsoft.com/office/drawing/2014/main" id="{D25E0218-A8A8-E3AF-BD3D-75406A013B9F}"/>
              </a:ext>
            </a:extLst>
          </p:cNvPr>
          <p:cNvSpPr>
            <a:spLocks noGrp="1"/>
          </p:cNvSpPr>
          <p:nvPr>
            <p:ph idx="1"/>
          </p:nvPr>
        </p:nvSpPr>
        <p:spPr>
          <a:xfrm>
            <a:off x="371475" y="1171122"/>
            <a:ext cx="10515600" cy="4541837"/>
          </a:xfrm>
        </p:spPr>
        <p:txBody>
          <a:bodyPr vert="horz" lIns="91440" tIns="45720" rIns="91440" bIns="45720" rtlCol="0" anchor="t">
            <a:noAutofit/>
          </a:bodyPr>
          <a:lstStyle/>
          <a:p>
            <a:r>
              <a:rPr lang="en-US" sz="2400">
                <a:ea typeface="+mn-lt"/>
                <a:cs typeface="+mn-lt"/>
              </a:rPr>
              <a:t>If you have the approving official menu option in IFCAP, you can pull open orders (unreconciled) by Purchase Card Holder. This will allow you to know the amount committed but not obligated by each Purchase Card Holder.  </a:t>
            </a:r>
            <a:endParaRPr lang="en-US" sz="2400">
              <a:cs typeface="Calibri"/>
            </a:endParaRPr>
          </a:p>
          <a:p>
            <a:r>
              <a:rPr lang="en-US" sz="2400">
                <a:ea typeface="+mn-lt"/>
                <a:cs typeface="+mn-lt"/>
              </a:rPr>
              <a:t>This is particularly important when closing out prior year as you want to be closing out all open orders from FY22 right now. These open orders should be closed so that you can be doing cost transfers prior to the January sweep.</a:t>
            </a:r>
            <a:endParaRPr lang="en-US" sz="2400">
              <a:cs typeface="Calibri"/>
            </a:endParaRPr>
          </a:p>
          <a:p>
            <a:r>
              <a:rPr lang="en-US" sz="2400">
                <a:cs typeface="Calibri"/>
              </a:rPr>
              <a:t>Work with each purchase card holder to determine the status of their open orders. If items will not be delivered in December, close the purchase order and create a new one using FY23/24 funds.</a:t>
            </a:r>
          </a:p>
          <a:p>
            <a:r>
              <a:rPr lang="en-US" sz="2400">
                <a:cs typeface="Calibri"/>
              </a:rPr>
              <a:t>It is difficult to do cost transfers when you have items in pending as you need to factor in those amounts when requesting the cost transfer. </a:t>
            </a:r>
            <a:r>
              <a:rPr lang="en-US" sz="2400" b="1">
                <a:cs typeface="Calibri"/>
              </a:rPr>
              <a:t>In addition, ORD cannot see what you have in pending so the funds will get swept if the orders are not completed by January.</a:t>
            </a:r>
            <a:endParaRPr lang="en-US" b="1">
              <a:cs typeface="Calibri"/>
            </a:endParaRPr>
          </a:p>
          <a:p>
            <a:endParaRPr lang="en-US">
              <a:cs typeface="Calibri"/>
            </a:endParaRPr>
          </a:p>
        </p:txBody>
      </p:sp>
      <p:sp>
        <p:nvSpPr>
          <p:cNvPr id="4" name="Date Placeholder 3">
            <a:extLst>
              <a:ext uri="{FF2B5EF4-FFF2-40B4-BE49-F238E27FC236}">
                <a16:creationId xmlns:a16="http://schemas.microsoft.com/office/drawing/2014/main" id="{22F9733E-94EF-4539-644E-3F58284995DB}"/>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3EBCA702-4559-EFFB-2A22-DD42077014BE}"/>
              </a:ext>
            </a:extLst>
          </p:cNvPr>
          <p:cNvSpPr>
            <a:spLocks noGrp="1"/>
          </p:cNvSpPr>
          <p:nvPr>
            <p:ph type="sldNum" sz="quarter" idx="12"/>
          </p:nvPr>
        </p:nvSpPr>
        <p:spPr/>
        <p:txBody>
          <a:bodyPr/>
          <a:lstStyle/>
          <a:p>
            <a:fld id="{670A9334-4E67-F94F-A05E-0CE8B74A054E}" type="slidenum">
              <a:rPr lang="en-US" smtClean="0"/>
              <a:t>31</a:t>
            </a:fld>
            <a:endParaRPr lang="en-US"/>
          </a:p>
        </p:txBody>
      </p:sp>
    </p:spTree>
    <p:extLst>
      <p:ext uri="{BB962C8B-B14F-4D97-AF65-F5344CB8AC3E}">
        <p14:creationId xmlns:p14="http://schemas.microsoft.com/office/powerpoint/2010/main" val="28637332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734B2B-00B8-4DE1-B9F5-FAEDF7053972}"/>
              </a:ext>
            </a:extLst>
          </p:cNvPr>
          <p:cNvSpPr>
            <a:spLocks noGrp="1"/>
          </p:cNvSpPr>
          <p:nvPr>
            <p:ph type="title"/>
          </p:nvPr>
        </p:nvSpPr>
        <p:spPr/>
        <p:txBody>
          <a:bodyPr/>
          <a:lstStyle/>
          <a:p>
            <a:r>
              <a:rPr lang="en-US"/>
              <a:t>Section 2: Open Purchase Card Menu</a:t>
            </a:r>
          </a:p>
        </p:txBody>
      </p:sp>
      <p:sp>
        <p:nvSpPr>
          <p:cNvPr id="4" name="Date Placeholder 3">
            <a:extLst>
              <a:ext uri="{FF2B5EF4-FFF2-40B4-BE49-F238E27FC236}">
                <a16:creationId xmlns:a16="http://schemas.microsoft.com/office/drawing/2014/main" id="{B0EC734C-BAED-4D0A-AD73-EDDB5B68D627}"/>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6627305E-53C2-4A8B-BBE1-BA03BF7533AC}"/>
              </a:ext>
            </a:extLst>
          </p:cNvPr>
          <p:cNvSpPr>
            <a:spLocks noGrp="1"/>
          </p:cNvSpPr>
          <p:nvPr>
            <p:ph type="sldNum" sz="quarter" idx="12"/>
          </p:nvPr>
        </p:nvSpPr>
        <p:spPr/>
        <p:txBody>
          <a:bodyPr/>
          <a:lstStyle/>
          <a:p>
            <a:fld id="{670A9334-4E67-F94F-A05E-0CE8B74A054E}" type="slidenum">
              <a:rPr lang="en-US" smtClean="0"/>
              <a:t>32</a:t>
            </a:fld>
            <a:endParaRPr lang="en-US"/>
          </a:p>
        </p:txBody>
      </p:sp>
      <p:pic>
        <p:nvPicPr>
          <p:cNvPr id="3" name="Picture 6">
            <a:extLst>
              <a:ext uri="{FF2B5EF4-FFF2-40B4-BE49-F238E27FC236}">
                <a16:creationId xmlns:a16="http://schemas.microsoft.com/office/drawing/2014/main" id="{0181398F-7417-F8BD-4DBF-A283FE73EA09}"/>
              </a:ext>
            </a:extLst>
          </p:cNvPr>
          <p:cNvPicPr>
            <a:picLocks noChangeAspect="1"/>
          </p:cNvPicPr>
          <p:nvPr/>
        </p:nvPicPr>
        <p:blipFill>
          <a:blip r:embed="rId3"/>
          <a:stretch>
            <a:fillRect/>
          </a:stretch>
        </p:blipFill>
        <p:spPr>
          <a:xfrm>
            <a:off x="968829" y="1023766"/>
            <a:ext cx="9274628" cy="1254469"/>
          </a:xfrm>
          <a:prstGeom prst="rect">
            <a:avLst/>
          </a:prstGeom>
          <a:ln w="38100">
            <a:solidFill>
              <a:schemeClr val="accent1"/>
            </a:solidFill>
          </a:ln>
        </p:spPr>
      </p:pic>
      <p:sp>
        <p:nvSpPr>
          <p:cNvPr id="7" name="TextBox 6">
            <a:extLst>
              <a:ext uri="{FF2B5EF4-FFF2-40B4-BE49-F238E27FC236}">
                <a16:creationId xmlns:a16="http://schemas.microsoft.com/office/drawing/2014/main" id="{363BA744-55B6-183F-769A-170FAE943222}"/>
              </a:ext>
            </a:extLst>
          </p:cNvPr>
          <p:cNvSpPr txBox="1"/>
          <p:nvPr/>
        </p:nvSpPr>
        <p:spPr>
          <a:xfrm>
            <a:off x="967015" y="2487385"/>
            <a:ext cx="5553527" cy="400110"/>
          </a:xfrm>
          <a:prstGeom prst="rect">
            <a:avLst/>
          </a:prstGeom>
          <a:noFill/>
          <a:ln w="38100">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cs typeface="Calibri"/>
              </a:rPr>
              <a:t>Select #2: Unreconciled Purchase Card Transactions</a:t>
            </a:r>
          </a:p>
        </p:txBody>
      </p:sp>
      <p:pic>
        <p:nvPicPr>
          <p:cNvPr id="8" name="Picture 8">
            <a:extLst>
              <a:ext uri="{FF2B5EF4-FFF2-40B4-BE49-F238E27FC236}">
                <a16:creationId xmlns:a16="http://schemas.microsoft.com/office/drawing/2014/main" id="{AF10F384-0049-8FFD-4097-1F2E618F7336}"/>
              </a:ext>
            </a:extLst>
          </p:cNvPr>
          <p:cNvPicPr>
            <a:picLocks noChangeAspect="1"/>
          </p:cNvPicPr>
          <p:nvPr/>
        </p:nvPicPr>
        <p:blipFill>
          <a:blip r:embed="rId4"/>
          <a:stretch>
            <a:fillRect/>
          </a:stretch>
        </p:blipFill>
        <p:spPr>
          <a:xfrm>
            <a:off x="968829" y="3096645"/>
            <a:ext cx="9274628" cy="1109036"/>
          </a:xfrm>
          <a:prstGeom prst="rect">
            <a:avLst/>
          </a:prstGeom>
          <a:ln w="38100">
            <a:solidFill>
              <a:schemeClr val="accent1"/>
            </a:solidFill>
          </a:ln>
        </p:spPr>
      </p:pic>
      <p:sp>
        <p:nvSpPr>
          <p:cNvPr id="9" name="TextBox 8">
            <a:extLst>
              <a:ext uri="{FF2B5EF4-FFF2-40B4-BE49-F238E27FC236}">
                <a16:creationId xmlns:a16="http://schemas.microsoft.com/office/drawing/2014/main" id="{8653023F-3F83-A59D-2B8C-0C32E6D12B3C}"/>
              </a:ext>
            </a:extLst>
          </p:cNvPr>
          <p:cNvSpPr txBox="1"/>
          <p:nvPr/>
        </p:nvSpPr>
        <p:spPr>
          <a:xfrm>
            <a:off x="968829" y="4414831"/>
            <a:ext cx="9438892" cy="1323439"/>
          </a:xfrm>
          <a:prstGeom prst="rect">
            <a:avLst/>
          </a:prstGeom>
          <a:noFill/>
          <a:ln w="38100">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cs typeface="Calibri"/>
              </a:rPr>
              <a:t>Enter beginning and end date</a:t>
            </a:r>
            <a:endParaRPr lang="en-US" sz="2000"/>
          </a:p>
          <a:p>
            <a:endParaRPr lang="en-US" sz="2000">
              <a:cs typeface="Calibri"/>
            </a:endParaRPr>
          </a:p>
          <a:p>
            <a:r>
              <a:rPr lang="en-US" sz="2000">
                <a:cs typeface="Calibri"/>
              </a:rPr>
              <a:t>The next report will show you the status of each unreconciled purchase card order sorted by purchase card holder.</a:t>
            </a:r>
          </a:p>
        </p:txBody>
      </p:sp>
    </p:spTree>
    <p:extLst>
      <p:ext uri="{BB962C8B-B14F-4D97-AF65-F5344CB8AC3E}">
        <p14:creationId xmlns:p14="http://schemas.microsoft.com/office/powerpoint/2010/main" val="1683637766"/>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a:t>Section 3: Balancing</a:t>
            </a:r>
          </a:p>
        </p:txBody>
      </p:sp>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33</a:t>
            </a:fld>
            <a:endParaRPr lang="en-US"/>
          </a:p>
        </p:txBody>
      </p:sp>
      <p:pic>
        <p:nvPicPr>
          <p:cNvPr id="9" name="Content Placeholder 8" descr="A picture containing graphical user interface&#10;&#10;Description automatically generated">
            <a:extLst>
              <a:ext uri="{FF2B5EF4-FFF2-40B4-BE49-F238E27FC236}">
                <a16:creationId xmlns:a16="http://schemas.microsoft.com/office/drawing/2014/main" id="{B4B1EF0D-4400-4FC8-8FE6-880A8F589062}"/>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t="-1" b="8065"/>
          <a:stretch/>
        </p:blipFill>
        <p:spPr>
          <a:xfrm>
            <a:off x="3602394" y="1404244"/>
            <a:ext cx="4405815" cy="4358707"/>
          </a:xfrm>
        </p:spPr>
      </p:pic>
      <p:sp>
        <p:nvSpPr>
          <p:cNvPr id="3" name="Speech Bubble: Oval 2">
            <a:extLst>
              <a:ext uri="{FF2B5EF4-FFF2-40B4-BE49-F238E27FC236}">
                <a16:creationId xmlns:a16="http://schemas.microsoft.com/office/drawing/2014/main" id="{98D0DAB8-E9C9-4D22-8B67-4522ECAE5ABD}"/>
              </a:ext>
            </a:extLst>
          </p:cNvPr>
          <p:cNvSpPr/>
          <p:nvPr/>
        </p:nvSpPr>
        <p:spPr>
          <a:xfrm>
            <a:off x="7849456" y="1095049"/>
            <a:ext cx="3389674" cy="2333951"/>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Where are we? Do I have enough money?</a:t>
            </a:r>
          </a:p>
          <a:p>
            <a:pPr algn="ctr"/>
            <a:r>
              <a:rPr lang="en-US" sz="2000"/>
              <a:t>Why is fiscal saying, NO!?</a:t>
            </a:r>
          </a:p>
        </p:txBody>
      </p:sp>
    </p:spTree>
    <p:extLst>
      <p:ext uri="{BB962C8B-B14F-4D97-AF65-F5344CB8AC3E}">
        <p14:creationId xmlns:p14="http://schemas.microsoft.com/office/powerpoint/2010/main" val="18593100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a:t>Section 3: Balancing Ceilings</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vert="horz" lIns="91440" tIns="45720" rIns="91440" bIns="45720" rtlCol="0" anchor="t">
            <a:noAutofit/>
          </a:bodyPr>
          <a:lstStyle/>
          <a:p>
            <a:endParaRPr lang="en-US" sz="1800"/>
          </a:p>
          <a:p>
            <a:endParaRPr lang="en-US" sz="1800"/>
          </a:p>
          <a:p>
            <a:endParaRPr lang="en-US" sz="1800"/>
          </a:p>
        </p:txBody>
      </p:sp>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34</a:t>
            </a:fld>
            <a:endParaRPr lang="en-US"/>
          </a:p>
        </p:txBody>
      </p:sp>
      <p:sp>
        <p:nvSpPr>
          <p:cNvPr id="3" name="TextBox 2">
            <a:extLst>
              <a:ext uri="{FF2B5EF4-FFF2-40B4-BE49-F238E27FC236}">
                <a16:creationId xmlns:a16="http://schemas.microsoft.com/office/drawing/2014/main" id="{66969E95-C3EB-F572-BE2A-F6BE479FCFC1}"/>
              </a:ext>
            </a:extLst>
          </p:cNvPr>
          <p:cNvSpPr txBox="1"/>
          <p:nvPr/>
        </p:nvSpPr>
        <p:spPr>
          <a:xfrm>
            <a:off x="493684" y="917531"/>
            <a:ext cx="11422743" cy="369331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en-US">
                <a:ea typeface="+mn-lt"/>
                <a:cs typeface="+mn-lt"/>
              </a:rPr>
              <a:t>The ceiling is the FMS Budget column on the SOA. It represents the amount of funds you have received for the year.</a:t>
            </a:r>
            <a:endParaRPr lang="en-US"/>
          </a:p>
          <a:p>
            <a:pPr marL="285750" indent="-285750">
              <a:buFont typeface="Arial" panose="020B0604020202020204" pitchFamily="34" charset="0"/>
              <a:buChar char="•"/>
            </a:pPr>
            <a:endParaRPr lang="en-US">
              <a:cs typeface="Calibri"/>
            </a:endParaRPr>
          </a:p>
          <a:p>
            <a:pPr marL="285750" indent="-285750">
              <a:buFont typeface="Arial" panose="020B0604020202020204" pitchFamily="34" charset="0"/>
              <a:buChar char="•"/>
            </a:pPr>
            <a:r>
              <a:rPr lang="en-US">
                <a:cs typeface="Calibri"/>
              </a:rPr>
              <a:t>It is important to balance your ceilings as TDAs come in throughout the year.  The ceilings should be balanced to whatever system you use to track your budget (WinRMS, excel). Each time you ask Fiscal to place a TDA into a FCP, you should check the SOA the next day to ensure that it balances. You should periodically balance your ceilings to ensure that no changes have been made that you are not aware of.</a:t>
            </a:r>
          </a:p>
          <a:p>
            <a:endParaRPr lang="en-US">
              <a:cs typeface="Calibri"/>
            </a:endParaRPr>
          </a:p>
          <a:p>
            <a:r>
              <a:rPr lang="en-US">
                <a:cs typeface="Calibri"/>
              </a:rPr>
              <a:t>Balancing your ceilings means that the following all have the same amount for the FCP you are balancing:</a:t>
            </a:r>
          </a:p>
          <a:p>
            <a:pPr marL="285750" indent="-285750">
              <a:buFont typeface="Arial"/>
              <a:buChar char="•"/>
            </a:pPr>
            <a:r>
              <a:rPr lang="en-US">
                <a:cs typeface="Calibri"/>
              </a:rPr>
              <a:t>The funds in your FMS Budget column on the SOA.</a:t>
            </a:r>
          </a:p>
          <a:p>
            <a:pPr marL="285750" indent="-285750">
              <a:buFont typeface="Arial"/>
              <a:buChar char="•"/>
            </a:pPr>
            <a:r>
              <a:rPr lang="en-US">
                <a:cs typeface="Calibri"/>
              </a:rPr>
              <a:t>The TDA amounts that you have received and requested that Fiscal place in the FCP.</a:t>
            </a:r>
          </a:p>
          <a:p>
            <a:pPr marL="285750" indent="-285750">
              <a:buFont typeface="Arial"/>
              <a:buChar char="•"/>
            </a:pPr>
            <a:r>
              <a:rPr lang="en-US">
                <a:cs typeface="Calibri"/>
              </a:rPr>
              <a:t>The amount that you have allocated for that FCP into your tracking database.</a:t>
            </a:r>
          </a:p>
          <a:p>
            <a:endParaRPr lang="en-US">
              <a:cs typeface="Calibri"/>
            </a:endParaRPr>
          </a:p>
          <a:p>
            <a:endParaRPr lang="en-US">
              <a:cs typeface="Calibri"/>
            </a:endParaRPr>
          </a:p>
        </p:txBody>
      </p:sp>
      <p:pic>
        <p:nvPicPr>
          <p:cNvPr id="5" name="Picture 7">
            <a:extLst>
              <a:ext uri="{FF2B5EF4-FFF2-40B4-BE49-F238E27FC236}">
                <a16:creationId xmlns:a16="http://schemas.microsoft.com/office/drawing/2014/main" id="{B2792B9F-DCBC-926A-97CD-0ACCC03C998A}"/>
              </a:ext>
            </a:extLst>
          </p:cNvPr>
          <p:cNvPicPr>
            <a:picLocks noChangeAspect="1"/>
          </p:cNvPicPr>
          <p:nvPr/>
        </p:nvPicPr>
        <p:blipFill>
          <a:blip r:embed="rId3"/>
          <a:stretch>
            <a:fillRect/>
          </a:stretch>
        </p:blipFill>
        <p:spPr>
          <a:xfrm>
            <a:off x="1165225" y="4041434"/>
            <a:ext cx="9182100" cy="2257425"/>
          </a:xfrm>
          <a:prstGeom prst="rect">
            <a:avLst/>
          </a:prstGeom>
          <a:ln w="38100">
            <a:solidFill>
              <a:schemeClr val="accent1">
                <a:shade val="50000"/>
              </a:schemeClr>
            </a:solidFill>
          </a:ln>
        </p:spPr>
      </p:pic>
      <p:sp>
        <p:nvSpPr>
          <p:cNvPr id="8" name="Oval 7">
            <a:extLst>
              <a:ext uri="{FF2B5EF4-FFF2-40B4-BE49-F238E27FC236}">
                <a16:creationId xmlns:a16="http://schemas.microsoft.com/office/drawing/2014/main" id="{E89266B4-DF82-AF90-AEF1-BD468064BEDC}"/>
              </a:ext>
            </a:extLst>
          </p:cNvPr>
          <p:cNvSpPr/>
          <p:nvPr/>
        </p:nvSpPr>
        <p:spPr>
          <a:xfrm>
            <a:off x="4521200" y="4038600"/>
            <a:ext cx="1034142" cy="63499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61552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9F128-812F-17DB-A57E-3A35018347E9}"/>
              </a:ext>
            </a:extLst>
          </p:cNvPr>
          <p:cNvSpPr>
            <a:spLocks noGrp="1"/>
          </p:cNvSpPr>
          <p:nvPr>
            <p:ph type="title"/>
          </p:nvPr>
        </p:nvSpPr>
        <p:spPr/>
        <p:txBody>
          <a:bodyPr/>
          <a:lstStyle/>
          <a:p>
            <a:r>
              <a:rPr lang="en-US">
                <a:ea typeface="+mj-lt"/>
                <a:cs typeface="+mj-lt"/>
              </a:rPr>
              <a:t>Section 3: Balancing Ceilings</a:t>
            </a:r>
            <a:endParaRPr lang="en-US"/>
          </a:p>
        </p:txBody>
      </p:sp>
      <p:sp>
        <p:nvSpPr>
          <p:cNvPr id="3" name="Content Placeholder 2">
            <a:extLst>
              <a:ext uri="{FF2B5EF4-FFF2-40B4-BE49-F238E27FC236}">
                <a16:creationId xmlns:a16="http://schemas.microsoft.com/office/drawing/2014/main" id="{D7D0F4A9-C8A1-38FB-DAE0-8CCEE9554A48}"/>
              </a:ext>
            </a:extLst>
          </p:cNvPr>
          <p:cNvSpPr>
            <a:spLocks noGrp="1"/>
          </p:cNvSpPr>
          <p:nvPr>
            <p:ph idx="1"/>
          </p:nvPr>
        </p:nvSpPr>
        <p:spPr>
          <a:xfrm>
            <a:off x="380546" y="944335"/>
            <a:ext cx="11078028" cy="4351338"/>
          </a:xfrm>
        </p:spPr>
        <p:txBody>
          <a:bodyPr vert="horz" lIns="91440" tIns="45720" rIns="91440" bIns="45720" rtlCol="0" anchor="t">
            <a:noAutofit/>
          </a:bodyPr>
          <a:lstStyle/>
          <a:p>
            <a:pPr marL="0" indent="0">
              <a:buNone/>
            </a:pPr>
            <a:r>
              <a:rPr lang="en-US" b="1">
                <a:ea typeface="+mn-lt"/>
                <a:cs typeface="+mn-lt"/>
              </a:rPr>
              <a:t>Ceiling Moves</a:t>
            </a:r>
            <a:r>
              <a:rPr lang="en-US">
                <a:ea typeface="+mn-lt"/>
                <a:cs typeface="+mn-lt"/>
              </a:rPr>
              <a:t>:</a:t>
            </a:r>
          </a:p>
          <a:p>
            <a:r>
              <a:rPr lang="en-US">
                <a:ea typeface="+mn-lt"/>
                <a:cs typeface="+mn-lt"/>
              </a:rPr>
              <a:t>You should request a ceiling move from Fiscal if you have a deficit in a FCP but not in the overall program. Note: You can move ceilings amongst a program but not across programs.  </a:t>
            </a:r>
            <a:endParaRPr lang="en-US">
              <a:cs typeface="Calibri" panose="020F0502020204030204"/>
            </a:endParaRPr>
          </a:p>
          <a:p>
            <a:pPr marL="457200" lvl="1" indent="0">
              <a:buNone/>
            </a:pPr>
            <a:r>
              <a:rPr lang="en-US">
                <a:ea typeface="+mn-lt"/>
                <a:cs typeface="+mn-lt"/>
              </a:rPr>
              <a:t>For example: If you have a deficit in a Salary FCP but have a surplus in an All Other FCP within the same program, you can ask Fiscal to move Ceilings from the All Other FCP to the Salary FCP to correct the deficit.  </a:t>
            </a:r>
          </a:p>
          <a:p>
            <a:r>
              <a:rPr lang="en-US">
                <a:ea typeface="+mn-lt"/>
                <a:cs typeface="+mn-lt"/>
              </a:rPr>
              <a:t>Moving ceilings to correct deficits makes the SOA easier to read and has a "pretty effect". After the Ceiling move request, you should balance the ceilings again to ensure the move was correctly completed.  </a:t>
            </a:r>
          </a:p>
          <a:p>
            <a:r>
              <a:rPr lang="en-US">
                <a:ea typeface="+mn-lt"/>
                <a:cs typeface="+mn-lt"/>
              </a:rPr>
              <a:t>The ceiling move should also be adjusted in your tracking method (WinRMS, Excel) so that you can ensure you stay balanced to the SOA.</a:t>
            </a:r>
            <a:endParaRPr lang="en-US">
              <a:cs typeface="Calibri" panose="020F0502020204030204"/>
            </a:endParaRPr>
          </a:p>
        </p:txBody>
      </p:sp>
      <p:sp>
        <p:nvSpPr>
          <p:cNvPr id="4" name="Date Placeholder 3">
            <a:extLst>
              <a:ext uri="{FF2B5EF4-FFF2-40B4-BE49-F238E27FC236}">
                <a16:creationId xmlns:a16="http://schemas.microsoft.com/office/drawing/2014/main" id="{25771DB9-02F4-F851-0F67-9D97AC5CB10C}"/>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1EF730CD-1D89-9965-531C-1C90EBE82FDF}"/>
              </a:ext>
            </a:extLst>
          </p:cNvPr>
          <p:cNvSpPr>
            <a:spLocks noGrp="1"/>
          </p:cNvSpPr>
          <p:nvPr>
            <p:ph type="sldNum" sz="quarter" idx="12"/>
          </p:nvPr>
        </p:nvSpPr>
        <p:spPr/>
        <p:txBody>
          <a:bodyPr/>
          <a:lstStyle/>
          <a:p>
            <a:fld id="{670A9334-4E67-F94F-A05E-0CE8B74A054E}" type="slidenum">
              <a:rPr lang="en-US" smtClean="0"/>
              <a:t>35</a:t>
            </a:fld>
            <a:endParaRPr lang="en-US"/>
          </a:p>
        </p:txBody>
      </p:sp>
    </p:spTree>
    <p:extLst>
      <p:ext uri="{BB962C8B-B14F-4D97-AF65-F5344CB8AC3E}">
        <p14:creationId xmlns:p14="http://schemas.microsoft.com/office/powerpoint/2010/main" val="87969768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D4AB8B-1CFF-4C01-5692-24AD47A56AEE}"/>
              </a:ext>
            </a:extLst>
          </p:cNvPr>
          <p:cNvSpPr>
            <a:spLocks noGrp="1"/>
          </p:cNvSpPr>
          <p:nvPr>
            <p:ph type="title"/>
          </p:nvPr>
        </p:nvSpPr>
        <p:spPr/>
        <p:txBody>
          <a:bodyPr/>
          <a:lstStyle/>
          <a:p>
            <a:r>
              <a:rPr lang="en-US">
                <a:ea typeface="+mj-lt"/>
                <a:cs typeface="+mj-lt"/>
              </a:rPr>
              <a:t>Section 3: Tracking Salaries</a:t>
            </a:r>
            <a:endParaRPr lang="en-US"/>
          </a:p>
        </p:txBody>
      </p:sp>
      <p:sp>
        <p:nvSpPr>
          <p:cNvPr id="3" name="Content Placeholder 2">
            <a:extLst>
              <a:ext uri="{FF2B5EF4-FFF2-40B4-BE49-F238E27FC236}">
                <a16:creationId xmlns:a16="http://schemas.microsoft.com/office/drawing/2014/main" id="{A05FC0CC-49C2-D9D9-A314-EDC72B19651B}"/>
              </a:ext>
            </a:extLst>
          </p:cNvPr>
          <p:cNvSpPr>
            <a:spLocks noGrp="1"/>
          </p:cNvSpPr>
          <p:nvPr>
            <p:ph idx="1"/>
          </p:nvPr>
        </p:nvSpPr>
        <p:spPr/>
        <p:txBody>
          <a:bodyPr vert="horz" lIns="91440" tIns="45720" rIns="91440" bIns="45720" rtlCol="0" anchor="t">
            <a:noAutofit/>
          </a:bodyPr>
          <a:lstStyle/>
          <a:p>
            <a:r>
              <a:rPr lang="en-US">
                <a:cs typeface="Calibri"/>
              </a:rPr>
              <a:t>Salary Data comes from the PAID report. You can obtain the PAID report two (2) ways:</a:t>
            </a:r>
          </a:p>
          <a:p>
            <a:pPr lvl="1"/>
            <a:r>
              <a:rPr lang="en-US">
                <a:cs typeface="Calibri"/>
              </a:rPr>
              <a:t>Download into WinRMS</a:t>
            </a:r>
          </a:p>
          <a:p>
            <a:pPr lvl="1"/>
            <a:r>
              <a:rPr lang="en-US">
                <a:cs typeface="Calibri"/>
              </a:rPr>
              <a:t>Fiscal sends you the PAID Report</a:t>
            </a:r>
          </a:p>
          <a:p>
            <a:r>
              <a:rPr lang="en-US">
                <a:cs typeface="Calibri"/>
              </a:rPr>
              <a:t>Regardless of how you obtain the data, you need to balance your salary expenditures to the SOA.</a:t>
            </a:r>
          </a:p>
          <a:p>
            <a:r>
              <a:rPr lang="en-US">
                <a:cs typeface="Calibri"/>
              </a:rPr>
              <a:t>If you utilize WinRMS, it does salary projections, so you still need to track your salary expenditures using excel in order to ensure you are balanced to the SOA throughout the year.</a:t>
            </a:r>
          </a:p>
        </p:txBody>
      </p:sp>
      <p:sp>
        <p:nvSpPr>
          <p:cNvPr id="4" name="Date Placeholder 3">
            <a:extLst>
              <a:ext uri="{FF2B5EF4-FFF2-40B4-BE49-F238E27FC236}">
                <a16:creationId xmlns:a16="http://schemas.microsoft.com/office/drawing/2014/main" id="{D2AA8EB0-E16F-7B7E-16ED-9DD0960B62EF}"/>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9BF94CAA-6229-98EB-099D-7006562BFEC3}"/>
              </a:ext>
            </a:extLst>
          </p:cNvPr>
          <p:cNvSpPr>
            <a:spLocks noGrp="1"/>
          </p:cNvSpPr>
          <p:nvPr>
            <p:ph type="sldNum" sz="quarter" idx="12"/>
          </p:nvPr>
        </p:nvSpPr>
        <p:spPr/>
        <p:txBody>
          <a:bodyPr/>
          <a:lstStyle/>
          <a:p>
            <a:fld id="{670A9334-4E67-F94F-A05E-0CE8B74A054E}" type="slidenum">
              <a:rPr lang="en-US" smtClean="0"/>
              <a:t>36</a:t>
            </a:fld>
            <a:endParaRPr lang="en-US"/>
          </a:p>
        </p:txBody>
      </p:sp>
    </p:spTree>
    <p:extLst>
      <p:ext uri="{BB962C8B-B14F-4D97-AF65-F5344CB8AC3E}">
        <p14:creationId xmlns:p14="http://schemas.microsoft.com/office/powerpoint/2010/main" val="26485366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BFCCC7-671C-0BF8-859D-46E63FBCB35C}"/>
              </a:ext>
            </a:extLst>
          </p:cNvPr>
          <p:cNvSpPr>
            <a:spLocks noGrp="1"/>
          </p:cNvSpPr>
          <p:nvPr>
            <p:ph type="title"/>
          </p:nvPr>
        </p:nvSpPr>
        <p:spPr/>
        <p:txBody>
          <a:bodyPr/>
          <a:lstStyle/>
          <a:p>
            <a:r>
              <a:rPr lang="en-US">
                <a:cs typeface="Calibri Light"/>
              </a:rPr>
              <a:t>Section 3: Tracking Salaries</a:t>
            </a:r>
            <a:endParaRPr lang="en-US"/>
          </a:p>
        </p:txBody>
      </p:sp>
      <p:sp>
        <p:nvSpPr>
          <p:cNvPr id="3" name="Content Placeholder 2">
            <a:extLst>
              <a:ext uri="{FF2B5EF4-FFF2-40B4-BE49-F238E27FC236}">
                <a16:creationId xmlns:a16="http://schemas.microsoft.com/office/drawing/2014/main" id="{F37FC186-463D-EF71-EB23-C213838204CD}"/>
              </a:ext>
            </a:extLst>
          </p:cNvPr>
          <p:cNvSpPr>
            <a:spLocks noGrp="1"/>
          </p:cNvSpPr>
          <p:nvPr>
            <p:ph idx="1"/>
          </p:nvPr>
        </p:nvSpPr>
        <p:spPr>
          <a:xfrm>
            <a:off x="380546" y="971550"/>
            <a:ext cx="10515600" cy="4351338"/>
          </a:xfrm>
        </p:spPr>
        <p:txBody>
          <a:bodyPr vert="horz" lIns="91440" tIns="45720" rIns="91440" bIns="45720" rtlCol="0" anchor="t">
            <a:noAutofit/>
          </a:bodyPr>
          <a:lstStyle/>
          <a:p>
            <a:r>
              <a:rPr lang="en-US">
                <a:cs typeface="Calibri"/>
              </a:rPr>
              <a:t>WinRMS will provide a sum for each salary FCP as it downloads each pay period.</a:t>
            </a:r>
          </a:p>
          <a:p>
            <a:r>
              <a:rPr lang="en-US">
                <a:cs typeface="Calibri"/>
              </a:rPr>
              <a:t>If you use a different method to track your salary, you will need to total all individuals in that FCP so you can have the overall expenditures.</a:t>
            </a:r>
          </a:p>
          <a:p>
            <a:r>
              <a:rPr lang="en-US">
                <a:cs typeface="Calibri"/>
              </a:rPr>
              <a:t> Below is a simple tracking method where the total charged by FCP for each Pay Period can be added as you move throughout the year.</a:t>
            </a:r>
            <a:endParaRPr lang="en-US"/>
          </a:p>
          <a:p>
            <a:endParaRPr lang="en-US">
              <a:cs typeface="Calibri"/>
            </a:endParaRPr>
          </a:p>
        </p:txBody>
      </p:sp>
      <p:sp>
        <p:nvSpPr>
          <p:cNvPr id="4" name="Date Placeholder 3">
            <a:extLst>
              <a:ext uri="{FF2B5EF4-FFF2-40B4-BE49-F238E27FC236}">
                <a16:creationId xmlns:a16="http://schemas.microsoft.com/office/drawing/2014/main" id="{FC237CD8-92AF-33DE-2F3F-3B3CB10FC213}"/>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06FAE13D-BEC3-7222-99CC-C76C38B03F9A}"/>
              </a:ext>
            </a:extLst>
          </p:cNvPr>
          <p:cNvSpPr>
            <a:spLocks noGrp="1"/>
          </p:cNvSpPr>
          <p:nvPr>
            <p:ph type="sldNum" sz="quarter" idx="12"/>
          </p:nvPr>
        </p:nvSpPr>
        <p:spPr/>
        <p:txBody>
          <a:bodyPr/>
          <a:lstStyle/>
          <a:p>
            <a:fld id="{670A9334-4E67-F94F-A05E-0CE8B74A054E}" type="slidenum">
              <a:rPr lang="en-US" smtClean="0"/>
              <a:t>37</a:t>
            </a:fld>
            <a:endParaRPr lang="en-US"/>
          </a:p>
        </p:txBody>
      </p:sp>
      <p:pic>
        <p:nvPicPr>
          <p:cNvPr id="7" name="Picture 7">
            <a:extLst>
              <a:ext uri="{FF2B5EF4-FFF2-40B4-BE49-F238E27FC236}">
                <a16:creationId xmlns:a16="http://schemas.microsoft.com/office/drawing/2014/main" id="{CC961803-3670-EDA7-706D-04D8106D0183}"/>
              </a:ext>
            </a:extLst>
          </p:cNvPr>
          <p:cNvPicPr>
            <a:picLocks noChangeAspect="1"/>
          </p:cNvPicPr>
          <p:nvPr/>
        </p:nvPicPr>
        <p:blipFill>
          <a:blip r:embed="rId2"/>
          <a:stretch>
            <a:fillRect/>
          </a:stretch>
        </p:blipFill>
        <p:spPr>
          <a:xfrm>
            <a:off x="379185" y="3978627"/>
            <a:ext cx="10589985" cy="2066673"/>
          </a:xfrm>
          <a:prstGeom prst="rect">
            <a:avLst/>
          </a:prstGeom>
          <a:ln w="38100">
            <a:solidFill>
              <a:schemeClr val="accent1">
                <a:shade val="50000"/>
              </a:schemeClr>
            </a:solidFill>
          </a:ln>
        </p:spPr>
      </p:pic>
    </p:spTree>
    <p:extLst>
      <p:ext uri="{BB962C8B-B14F-4D97-AF65-F5344CB8AC3E}">
        <p14:creationId xmlns:p14="http://schemas.microsoft.com/office/powerpoint/2010/main" val="413494293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EA6D2-E2D1-92A5-9AF6-A738A1C2A212}"/>
              </a:ext>
            </a:extLst>
          </p:cNvPr>
          <p:cNvSpPr>
            <a:spLocks noGrp="1"/>
          </p:cNvSpPr>
          <p:nvPr>
            <p:ph type="title"/>
          </p:nvPr>
        </p:nvSpPr>
        <p:spPr/>
        <p:txBody>
          <a:bodyPr/>
          <a:lstStyle/>
          <a:p>
            <a:r>
              <a:rPr lang="en-US">
                <a:ea typeface="+mj-lt"/>
                <a:cs typeface="+mj-lt"/>
              </a:rPr>
              <a:t>Section 3: Tracking Salaries</a:t>
            </a:r>
            <a:endParaRPr lang="en-US"/>
          </a:p>
        </p:txBody>
      </p:sp>
      <p:sp>
        <p:nvSpPr>
          <p:cNvPr id="3" name="Content Placeholder 2">
            <a:extLst>
              <a:ext uri="{FF2B5EF4-FFF2-40B4-BE49-F238E27FC236}">
                <a16:creationId xmlns:a16="http://schemas.microsoft.com/office/drawing/2014/main" id="{785E9A45-0FBE-6D4E-A813-D8307C9D64F0}"/>
              </a:ext>
            </a:extLst>
          </p:cNvPr>
          <p:cNvSpPr>
            <a:spLocks noGrp="1"/>
          </p:cNvSpPr>
          <p:nvPr>
            <p:ph idx="1"/>
          </p:nvPr>
        </p:nvSpPr>
        <p:spPr/>
        <p:txBody>
          <a:bodyPr vert="horz" lIns="91440" tIns="45720" rIns="91440" bIns="45720" rtlCol="0" anchor="t">
            <a:noAutofit/>
          </a:bodyPr>
          <a:lstStyle/>
          <a:p>
            <a:r>
              <a:rPr lang="en-US">
                <a:cs typeface="Calibri"/>
              </a:rPr>
              <a:t>As you are adding each Pay Period to the tracking spreadsheet, you should ensure that the expenditures balance to the SOA.  </a:t>
            </a:r>
          </a:p>
          <a:p>
            <a:endParaRPr lang="en-US">
              <a:cs typeface="Calibri"/>
            </a:endParaRPr>
          </a:p>
          <a:p>
            <a:endParaRPr lang="en-US">
              <a:cs typeface="Calibri"/>
            </a:endParaRPr>
          </a:p>
          <a:p>
            <a:endParaRPr lang="en-US">
              <a:cs typeface="Calibri"/>
            </a:endParaRPr>
          </a:p>
        </p:txBody>
      </p:sp>
      <p:sp>
        <p:nvSpPr>
          <p:cNvPr id="4" name="Date Placeholder 3">
            <a:extLst>
              <a:ext uri="{FF2B5EF4-FFF2-40B4-BE49-F238E27FC236}">
                <a16:creationId xmlns:a16="http://schemas.microsoft.com/office/drawing/2014/main" id="{795227D6-FDFA-019B-FA57-7B60C1A1E2B1}"/>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756FA46B-BC48-2DA7-ED97-AFC4D50D92FC}"/>
              </a:ext>
            </a:extLst>
          </p:cNvPr>
          <p:cNvSpPr>
            <a:spLocks noGrp="1"/>
          </p:cNvSpPr>
          <p:nvPr>
            <p:ph type="sldNum" sz="quarter" idx="12"/>
          </p:nvPr>
        </p:nvSpPr>
        <p:spPr/>
        <p:txBody>
          <a:bodyPr/>
          <a:lstStyle/>
          <a:p>
            <a:fld id="{670A9334-4E67-F94F-A05E-0CE8B74A054E}" type="slidenum">
              <a:rPr lang="en-US" smtClean="0"/>
              <a:t>38</a:t>
            </a:fld>
            <a:endParaRPr lang="en-US"/>
          </a:p>
        </p:txBody>
      </p:sp>
      <p:pic>
        <p:nvPicPr>
          <p:cNvPr id="12" name="Picture 12">
            <a:extLst>
              <a:ext uri="{FF2B5EF4-FFF2-40B4-BE49-F238E27FC236}">
                <a16:creationId xmlns:a16="http://schemas.microsoft.com/office/drawing/2014/main" id="{2CB9B4B1-F861-BB87-4D99-70CD54613E29}"/>
              </a:ext>
            </a:extLst>
          </p:cNvPr>
          <p:cNvPicPr>
            <a:picLocks noChangeAspect="1"/>
          </p:cNvPicPr>
          <p:nvPr/>
        </p:nvPicPr>
        <p:blipFill>
          <a:blip r:embed="rId2"/>
          <a:stretch>
            <a:fillRect/>
          </a:stretch>
        </p:blipFill>
        <p:spPr>
          <a:xfrm>
            <a:off x="5358948" y="3026310"/>
            <a:ext cx="5564413" cy="1059378"/>
          </a:xfrm>
          <a:prstGeom prst="rect">
            <a:avLst/>
          </a:prstGeom>
          <a:ln w="38100">
            <a:solidFill>
              <a:schemeClr val="accent1">
                <a:shade val="50000"/>
              </a:schemeClr>
            </a:solidFill>
          </a:ln>
        </p:spPr>
      </p:pic>
      <p:pic>
        <p:nvPicPr>
          <p:cNvPr id="13" name="Picture 13">
            <a:extLst>
              <a:ext uri="{FF2B5EF4-FFF2-40B4-BE49-F238E27FC236}">
                <a16:creationId xmlns:a16="http://schemas.microsoft.com/office/drawing/2014/main" id="{347D9398-AEC1-B3CD-DDAA-989F42412574}"/>
              </a:ext>
            </a:extLst>
          </p:cNvPr>
          <p:cNvPicPr>
            <a:picLocks noChangeAspect="1"/>
          </p:cNvPicPr>
          <p:nvPr/>
        </p:nvPicPr>
        <p:blipFill>
          <a:blip r:embed="rId3"/>
          <a:stretch>
            <a:fillRect/>
          </a:stretch>
        </p:blipFill>
        <p:spPr>
          <a:xfrm>
            <a:off x="1358900" y="2568524"/>
            <a:ext cx="3033485" cy="1974951"/>
          </a:xfrm>
          <a:prstGeom prst="rect">
            <a:avLst/>
          </a:prstGeom>
          <a:ln w="38100">
            <a:solidFill>
              <a:schemeClr val="accent1">
                <a:shade val="50000"/>
              </a:schemeClr>
            </a:solidFill>
          </a:ln>
        </p:spPr>
      </p:pic>
      <p:sp>
        <p:nvSpPr>
          <p:cNvPr id="14" name="Oval 13">
            <a:extLst>
              <a:ext uri="{FF2B5EF4-FFF2-40B4-BE49-F238E27FC236}">
                <a16:creationId xmlns:a16="http://schemas.microsoft.com/office/drawing/2014/main" id="{FCB26B1E-801F-13A6-A511-54EF06859AC0}"/>
              </a:ext>
            </a:extLst>
          </p:cNvPr>
          <p:cNvSpPr/>
          <p:nvPr/>
        </p:nvSpPr>
        <p:spPr>
          <a:xfrm>
            <a:off x="3521528" y="4040414"/>
            <a:ext cx="798285" cy="56242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5CD70345-188C-8EFA-7EC6-1AEEDA67A305}"/>
              </a:ext>
            </a:extLst>
          </p:cNvPr>
          <p:cNvSpPr/>
          <p:nvPr/>
        </p:nvSpPr>
        <p:spPr>
          <a:xfrm>
            <a:off x="9320127" y="3646734"/>
            <a:ext cx="798285" cy="56242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801626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6F5F3-E7D0-71F7-347F-B07F2B08C52F}"/>
              </a:ext>
            </a:extLst>
          </p:cNvPr>
          <p:cNvSpPr>
            <a:spLocks noGrp="1"/>
          </p:cNvSpPr>
          <p:nvPr>
            <p:ph type="title"/>
          </p:nvPr>
        </p:nvSpPr>
        <p:spPr/>
        <p:txBody>
          <a:bodyPr/>
          <a:lstStyle/>
          <a:p>
            <a:r>
              <a:rPr lang="en-US">
                <a:cs typeface="Calibri Light"/>
              </a:rPr>
              <a:t>Section 3: Tracking Salaries</a:t>
            </a:r>
            <a:endParaRPr lang="en-US"/>
          </a:p>
        </p:txBody>
      </p:sp>
      <p:sp>
        <p:nvSpPr>
          <p:cNvPr id="3" name="Content Placeholder 2">
            <a:extLst>
              <a:ext uri="{FF2B5EF4-FFF2-40B4-BE49-F238E27FC236}">
                <a16:creationId xmlns:a16="http://schemas.microsoft.com/office/drawing/2014/main" id="{C83E7432-6B10-AE44-54B1-BC4A06FEFF58}"/>
              </a:ext>
            </a:extLst>
          </p:cNvPr>
          <p:cNvSpPr>
            <a:spLocks noGrp="1"/>
          </p:cNvSpPr>
          <p:nvPr>
            <p:ph idx="1"/>
          </p:nvPr>
        </p:nvSpPr>
        <p:spPr/>
        <p:txBody>
          <a:bodyPr vert="horz" lIns="91440" tIns="45720" rIns="91440" bIns="45720" rtlCol="0" anchor="t">
            <a:noAutofit/>
          </a:bodyPr>
          <a:lstStyle/>
          <a:p>
            <a:r>
              <a:rPr lang="en-US">
                <a:ea typeface="+mn-lt"/>
                <a:cs typeface="+mn-lt"/>
              </a:rPr>
              <a:t>If you don't balance, check the PAID report and Daily F20s to see if you can determine why you don't balance. </a:t>
            </a:r>
          </a:p>
          <a:p>
            <a:r>
              <a:rPr lang="en-US">
                <a:ea typeface="+mn-lt"/>
                <a:cs typeface="+mn-lt"/>
              </a:rPr>
              <a:t>Things to look for:</a:t>
            </a:r>
          </a:p>
          <a:p>
            <a:pPr lvl="1"/>
            <a:r>
              <a:rPr lang="en-US">
                <a:ea typeface="+mn-lt"/>
                <a:cs typeface="+mn-lt"/>
              </a:rPr>
              <a:t>TSP Transactions</a:t>
            </a:r>
          </a:p>
          <a:p>
            <a:pPr lvl="1"/>
            <a:r>
              <a:rPr lang="en-US">
                <a:ea typeface="+mn-lt"/>
                <a:cs typeface="+mn-lt"/>
              </a:rPr>
              <a:t>Transit Benefit charges</a:t>
            </a:r>
          </a:p>
          <a:p>
            <a:pPr lvl="1"/>
            <a:r>
              <a:rPr lang="en-US">
                <a:ea typeface="+mn-lt"/>
                <a:cs typeface="+mn-lt"/>
              </a:rPr>
              <a:t>Prior Year – WinRMS does not decipher between fiscal years when it does a salary download.  The F20 will tell you if a portion of the salary was actually charged to prior year FCP.</a:t>
            </a:r>
          </a:p>
          <a:p>
            <a:pPr lvl="1"/>
            <a:r>
              <a:rPr lang="en-US">
                <a:ea typeface="+mn-lt"/>
                <a:cs typeface="+mn-lt"/>
              </a:rPr>
              <a:t>Fiscal Adjustments</a:t>
            </a:r>
          </a:p>
          <a:p>
            <a:pPr lvl="1"/>
            <a:endParaRPr lang="en-US">
              <a:ea typeface="+mn-lt"/>
              <a:cs typeface="+mn-lt"/>
            </a:endParaRPr>
          </a:p>
          <a:p>
            <a:pPr lvl="1"/>
            <a:endParaRPr lang="en-US">
              <a:ea typeface="+mn-lt"/>
              <a:cs typeface="+mn-lt"/>
            </a:endParaRPr>
          </a:p>
        </p:txBody>
      </p:sp>
      <p:sp>
        <p:nvSpPr>
          <p:cNvPr id="4" name="Date Placeholder 3">
            <a:extLst>
              <a:ext uri="{FF2B5EF4-FFF2-40B4-BE49-F238E27FC236}">
                <a16:creationId xmlns:a16="http://schemas.microsoft.com/office/drawing/2014/main" id="{219EF265-B819-B550-CE91-BA1F70C8A635}"/>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32F52076-C84C-95EA-0CF0-925C0718C424}"/>
              </a:ext>
            </a:extLst>
          </p:cNvPr>
          <p:cNvSpPr>
            <a:spLocks noGrp="1"/>
          </p:cNvSpPr>
          <p:nvPr>
            <p:ph type="sldNum" sz="quarter" idx="12"/>
          </p:nvPr>
        </p:nvSpPr>
        <p:spPr/>
        <p:txBody>
          <a:bodyPr/>
          <a:lstStyle/>
          <a:p>
            <a:fld id="{670A9334-4E67-F94F-A05E-0CE8B74A054E}" type="slidenum">
              <a:rPr lang="en-US" smtClean="0"/>
              <a:t>39</a:t>
            </a:fld>
            <a:endParaRPr lang="en-US"/>
          </a:p>
        </p:txBody>
      </p:sp>
    </p:spTree>
    <p:extLst>
      <p:ext uri="{BB962C8B-B14F-4D97-AF65-F5344CB8AC3E}">
        <p14:creationId xmlns:p14="http://schemas.microsoft.com/office/powerpoint/2010/main" val="29111070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a:xfrm>
            <a:off x="294625" y="136525"/>
            <a:ext cx="11437063" cy="618385"/>
          </a:xfrm>
        </p:spPr>
        <p:txBody>
          <a:bodyPr/>
          <a:lstStyle/>
          <a:p>
            <a:r>
              <a:rPr lang="en-US"/>
              <a:t>Introduction: FY 23 Appropriation Status and Update on the Continuing Resolution</a:t>
            </a:r>
          </a:p>
        </p:txBody>
      </p:sp>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4</a:t>
            </a:fld>
            <a:endParaRPr lang="en-US"/>
          </a:p>
        </p:txBody>
      </p:sp>
      <p:pic>
        <p:nvPicPr>
          <p:cNvPr id="8" name="Content Placeholder 7" descr="A drawing of a house&#10;&#10;Description automatically generated with low confidence">
            <a:extLst>
              <a:ext uri="{FF2B5EF4-FFF2-40B4-BE49-F238E27FC236}">
                <a16:creationId xmlns:a16="http://schemas.microsoft.com/office/drawing/2014/main" id="{09A54DD6-6742-4156-AE48-56ADC02F1E9C}"/>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3755732" y="1257300"/>
            <a:ext cx="4514850" cy="4343400"/>
          </a:xfrm>
        </p:spPr>
      </p:pic>
    </p:spTree>
    <p:extLst>
      <p:ext uri="{BB962C8B-B14F-4D97-AF65-F5344CB8AC3E}">
        <p14:creationId xmlns:p14="http://schemas.microsoft.com/office/powerpoint/2010/main" val="56014116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53331A-8DD2-4B6C-9722-A67A88512A37}"/>
              </a:ext>
            </a:extLst>
          </p:cNvPr>
          <p:cNvSpPr>
            <a:spLocks noGrp="1"/>
          </p:cNvSpPr>
          <p:nvPr>
            <p:ph type="title"/>
          </p:nvPr>
        </p:nvSpPr>
        <p:spPr/>
        <p:txBody>
          <a:bodyPr/>
          <a:lstStyle/>
          <a:p>
            <a:r>
              <a:rPr lang="en-US"/>
              <a:t>Section 3: Tracking All Other Expenditures</a:t>
            </a:r>
          </a:p>
        </p:txBody>
      </p:sp>
      <p:sp>
        <p:nvSpPr>
          <p:cNvPr id="4" name="Date Placeholder 3">
            <a:extLst>
              <a:ext uri="{FF2B5EF4-FFF2-40B4-BE49-F238E27FC236}">
                <a16:creationId xmlns:a16="http://schemas.microsoft.com/office/drawing/2014/main" id="{71FF802A-9325-488E-B4BA-03A96E699D1E}"/>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68888BDD-9825-44EE-9E34-D00F0E4D183F}"/>
              </a:ext>
            </a:extLst>
          </p:cNvPr>
          <p:cNvSpPr>
            <a:spLocks noGrp="1"/>
          </p:cNvSpPr>
          <p:nvPr>
            <p:ph type="sldNum" sz="quarter" idx="12"/>
          </p:nvPr>
        </p:nvSpPr>
        <p:spPr/>
        <p:txBody>
          <a:bodyPr/>
          <a:lstStyle/>
          <a:p>
            <a:fld id="{670A9334-4E67-F94F-A05E-0CE8B74A054E}" type="slidenum">
              <a:rPr lang="en-US" smtClean="0"/>
              <a:t>40</a:t>
            </a:fld>
            <a:endParaRPr lang="en-US"/>
          </a:p>
        </p:txBody>
      </p:sp>
      <p:sp>
        <p:nvSpPr>
          <p:cNvPr id="8" name="Content Placeholder 7">
            <a:extLst>
              <a:ext uri="{FF2B5EF4-FFF2-40B4-BE49-F238E27FC236}">
                <a16:creationId xmlns:a16="http://schemas.microsoft.com/office/drawing/2014/main" id="{999BBCE3-1DB9-4340-97C2-4BB35C18E99B}"/>
              </a:ext>
            </a:extLst>
          </p:cNvPr>
          <p:cNvSpPr>
            <a:spLocks noGrp="1"/>
          </p:cNvSpPr>
          <p:nvPr>
            <p:ph idx="1"/>
          </p:nvPr>
        </p:nvSpPr>
        <p:spPr>
          <a:xfrm>
            <a:off x="285750" y="1084218"/>
            <a:ext cx="10515600" cy="4351338"/>
          </a:xfrm>
        </p:spPr>
        <p:txBody>
          <a:bodyPr vert="horz" lIns="91440" tIns="45720" rIns="91440" bIns="45720" rtlCol="0" anchor="t">
            <a:noAutofit/>
          </a:bodyPr>
          <a:lstStyle/>
          <a:p>
            <a:r>
              <a:rPr lang="en-US">
                <a:cs typeface="Calibri"/>
              </a:rPr>
              <a:t>Like Salary Expenditures, whatever tool you use to manage your budget needs to be rolled up to the FCP level so you can balance your expenditures to the SOA.</a:t>
            </a:r>
          </a:p>
          <a:p>
            <a:r>
              <a:rPr lang="en-US">
                <a:cs typeface="Calibri"/>
              </a:rPr>
              <a:t>The first step is to determine the total amount of expenditures for the FCP in your budget tracking database (WinRMS/Excel). This should include all obligated and committed/pending orders.  </a:t>
            </a:r>
          </a:p>
          <a:p>
            <a:r>
              <a:rPr lang="en-US">
                <a:cs typeface="Calibri"/>
              </a:rPr>
              <a:t>The second step is to pull the FMS Obligated amount from the SOA and add the committed/pending total from IFCAP.  </a:t>
            </a:r>
          </a:p>
          <a:p>
            <a:pPr lvl="1"/>
            <a:r>
              <a:rPr lang="en-US">
                <a:ea typeface="+mn-lt"/>
                <a:cs typeface="+mn-lt"/>
              </a:rPr>
              <a:t>Unless your Fiscal provides you with IFCAP pending on the SOA, you will need to determine the pending amount in IFCAP to balance.</a:t>
            </a:r>
          </a:p>
          <a:p>
            <a:pPr lvl="1"/>
            <a:r>
              <a:rPr lang="en-US">
                <a:ea typeface="+mn-lt"/>
                <a:cs typeface="+mn-lt"/>
              </a:rPr>
              <a:t>You can determine the Pending Amount using the tools described earlier in Section 2: Running Balance, Open Orders Menu.</a:t>
            </a:r>
          </a:p>
          <a:p>
            <a:endParaRPr lang="en-US" sz="2400">
              <a:cs typeface="Calibri"/>
            </a:endParaRPr>
          </a:p>
        </p:txBody>
      </p:sp>
    </p:spTree>
    <p:extLst>
      <p:ext uri="{BB962C8B-B14F-4D97-AF65-F5344CB8AC3E}">
        <p14:creationId xmlns:p14="http://schemas.microsoft.com/office/powerpoint/2010/main" val="382135827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78D978-F782-B8A1-8281-06CEB62D10A2}"/>
              </a:ext>
            </a:extLst>
          </p:cNvPr>
          <p:cNvSpPr>
            <a:spLocks noGrp="1"/>
          </p:cNvSpPr>
          <p:nvPr>
            <p:ph type="title"/>
          </p:nvPr>
        </p:nvSpPr>
        <p:spPr/>
        <p:txBody>
          <a:bodyPr/>
          <a:lstStyle/>
          <a:p>
            <a:r>
              <a:rPr lang="en-US">
                <a:cs typeface="Calibri Light"/>
              </a:rPr>
              <a:t>Section 3: Tracking All Other Expenditures</a:t>
            </a:r>
            <a:endParaRPr lang="en-US"/>
          </a:p>
        </p:txBody>
      </p:sp>
      <p:sp>
        <p:nvSpPr>
          <p:cNvPr id="3" name="Content Placeholder 2">
            <a:extLst>
              <a:ext uri="{FF2B5EF4-FFF2-40B4-BE49-F238E27FC236}">
                <a16:creationId xmlns:a16="http://schemas.microsoft.com/office/drawing/2014/main" id="{B069E2E4-C3BD-4C25-2E2C-E635482A5BF8}"/>
              </a:ext>
            </a:extLst>
          </p:cNvPr>
          <p:cNvSpPr>
            <a:spLocks noGrp="1"/>
          </p:cNvSpPr>
          <p:nvPr>
            <p:ph idx="1"/>
          </p:nvPr>
        </p:nvSpPr>
        <p:spPr>
          <a:xfrm>
            <a:off x="371475" y="1080407"/>
            <a:ext cx="10515600" cy="4632552"/>
          </a:xfrm>
        </p:spPr>
        <p:txBody>
          <a:bodyPr vert="horz" lIns="91440" tIns="45720" rIns="91440" bIns="45720" rtlCol="0" anchor="t">
            <a:noAutofit/>
          </a:bodyPr>
          <a:lstStyle/>
          <a:p>
            <a:r>
              <a:rPr lang="en-US">
                <a:cs typeface="Calibri"/>
              </a:rPr>
              <a:t>The amounts from Step 1 and 2 should match.</a:t>
            </a:r>
          </a:p>
          <a:p>
            <a:r>
              <a:rPr lang="en-US">
                <a:cs typeface="Calibri"/>
              </a:rPr>
              <a:t>Example Step 1 – Expenditure Amount from WinRMS FCP 4663 = </a:t>
            </a:r>
          </a:p>
        </p:txBody>
      </p:sp>
      <p:sp>
        <p:nvSpPr>
          <p:cNvPr id="4" name="Date Placeholder 3">
            <a:extLst>
              <a:ext uri="{FF2B5EF4-FFF2-40B4-BE49-F238E27FC236}">
                <a16:creationId xmlns:a16="http://schemas.microsoft.com/office/drawing/2014/main" id="{5DE92C5C-C58A-6E43-34AD-11E446E23CF3}"/>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C197CD45-5F39-B28B-DCDB-DAFE2CB41EDD}"/>
              </a:ext>
            </a:extLst>
          </p:cNvPr>
          <p:cNvSpPr>
            <a:spLocks noGrp="1"/>
          </p:cNvSpPr>
          <p:nvPr>
            <p:ph type="sldNum" sz="quarter" idx="12"/>
          </p:nvPr>
        </p:nvSpPr>
        <p:spPr/>
        <p:txBody>
          <a:bodyPr/>
          <a:lstStyle/>
          <a:p>
            <a:fld id="{670A9334-4E67-F94F-A05E-0CE8B74A054E}" type="slidenum">
              <a:rPr lang="en-US" smtClean="0"/>
              <a:t>41</a:t>
            </a:fld>
            <a:endParaRPr lang="en-US"/>
          </a:p>
        </p:txBody>
      </p:sp>
      <p:pic>
        <p:nvPicPr>
          <p:cNvPr id="8" name="Picture 8">
            <a:extLst>
              <a:ext uri="{FF2B5EF4-FFF2-40B4-BE49-F238E27FC236}">
                <a16:creationId xmlns:a16="http://schemas.microsoft.com/office/drawing/2014/main" id="{DC88E73C-B5B7-2C14-3898-AD94EE5D4125}"/>
              </a:ext>
            </a:extLst>
          </p:cNvPr>
          <p:cNvPicPr>
            <a:picLocks noChangeAspect="1"/>
          </p:cNvPicPr>
          <p:nvPr/>
        </p:nvPicPr>
        <p:blipFill>
          <a:blip r:embed="rId2"/>
          <a:stretch>
            <a:fillRect/>
          </a:stretch>
        </p:blipFill>
        <p:spPr>
          <a:xfrm>
            <a:off x="1231901" y="2783506"/>
            <a:ext cx="9728198" cy="1290988"/>
          </a:xfrm>
          <a:prstGeom prst="rect">
            <a:avLst/>
          </a:prstGeom>
          <a:ln w="38100">
            <a:solidFill>
              <a:schemeClr val="accent1">
                <a:shade val="50000"/>
              </a:schemeClr>
            </a:solidFill>
          </a:ln>
        </p:spPr>
      </p:pic>
      <p:sp>
        <p:nvSpPr>
          <p:cNvPr id="9" name="Oval 8">
            <a:extLst>
              <a:ext uri="{FF2B5EF4-FFF2-40B4-BE49-F238E27FC236}">
                <a16:creationId xmlns:a16="http://schemas.microsoft.com/office/drawing/2014/main" id="{26FA5D35-9BDE-2BDF-43FE-351F0910DF64}"/>
              </a:ext>
            </a:extLst>
          </p:cNvPr>
          <p:cNvSpPr/>
          <p:nvPr/>
        </p:nvSpPr>
        <p:spPr>
          <a:xfrm>
            <a:off x="9637485" y="3008085"/>
            <a:ext cx="1251857" cy="498929"/>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016188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793BD7-4966-CFB7-CF4A-28D727F2345B}"/>
              </a:ext>
            </a:extLst>
          </p:cNvPr>
          <p:cNvSpPr>
            <a:spLocks noGrp="1"/>
          </p:cNvSpPr>
          <p:nvPr>
            <p:ph type="title"/>
          </p:nvPr>
        </p:nvSpPr>
        <p:spPr/>
        <p:txBody>
          <a:bodyPr/>
          <a:lstStyle/>
          <a:p>
            <a:r>
              <a:rPr lang="en-US">
                <a:ea typeface="+mj-lt"/>
                <a:cs typeface="+mj-lt"/>
              </a:rPr>
              <a:t>Section 3: Tracking All Other Expenditures</a:t>
            </a:r>
            <a:endParaRPr lang="en-US"/>
          </a:p>
        </p:txBody>
      </p:sp>
      <p:sp>
        <p:nvSpPr>
          <p:cNvPr id="4" name="Date Placeholder 3">
            <a:extLst>
              <a:ext uri="{FF2B5EF4-FFF2-40B4-BE49-F238E27FC236}">
                <a16:creationId xmlns:a16="http://schemas.microsoft.com/office/drawing/2014/main" id="{B362D7E1-97AD-4861-3D6A-8F14AF4130CF}"/>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4B732A2B-9FBA-5ACB-D140-071A475C5A7F}"/>
              </a:ext>
            </a:extLst>
          </p:cNvPr>
          <p:cNvSpPr>
            <a:spLocks noGrp="1"/>
          </p:cNvSpPr>
          <p:nvPr>
            <p:ph type="sldNum" sz="quarter" idx="12"/>
          </p:nvPr>
        </p:nvSpPr>
        <p:spPr/>
        <p:txBody>
          <a:bodyPr/>
          <a:lstStyle/>
          <a:p>
            <a:fld id="{670A9334-4E67-F94F-A05E-0CE8B74A054E}" type="slidenum">
              <a:rPr lang="en-US" smtClean="0"/>
              <a:t>42</a:t>
            </a:fld>
            <a:endParaRPr lang="en-US"/>
          </a:p>
        </p:txBody>
      </p:sp>
      <p:sp>
        <p:nvSpPr>
          <p:cNvPr id="7" name="TextBox 6">
            <a:extLst>
              <a:ext uri="{FF2B5EF4-FFF2-40B4-BE49-F238E27FC236}">
                <a16:creationId xmlns:a16="http://schemas.microsoft.com/office/drawing/2014/main" id="{7F7D3D88-ED0E-0337-6AB8-BA4FC1B772F4}"/>
              </a:ext>
            </a:extLst>
          </p:cNvPr>
          <p:cNvSpPr txBox="1"/>
          <p:nvPr/>
        </p:nvSpPr>
        <p:spPr>
          <a:xfrm>
            <a:off x="754743" y="1037771"/>
            <a:ext cx="9827985"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cs typeface="Calibri"/>
              </a:rPr>
              <a:t>Step 2: IFCAP Pending Amount = $80,156.87+1,103,258.74 = $1,183,415.61</a:t>
            </a:r>
          </a:p>
          <a:p>
            <a:pPr lvl="1"/>
            <a:r>
              <a:rPr lang="en-US" sz="2400">
                <a:cs typeface="Calibri"/>
              </a:rPr>
              <a:t>       SOA FMS Obligated Amount = $285,700.42</a:t>
            </a:r>
          </a:p>
          <a:p>
            <a:pPr lvl="1"/>
            <a:r>
              <a:rPr lang="en-US" sz="2400">
                <a:cs typeface="Calibri"/>
              </a:rPr>
              <a:t>       Total = $1,469,116.03</a:t>
            </a:r>
          </a:p>
        </p:txBody>
      </p:sp>
      <p:pic>
        <p:nvPicPr>
          <p:cNvPr id="10" name="Picture 10">
            <a:extLst>
              <a:ext uri="{FF2B5EF4-FFF2-40B4-BE49-F238E27FC236}">
                <a16:creationId xmlns:a16="http://schemas.microsoft.com/office/drawing/2014/main" id="{7B39B245-1DAF-DA7D-A026-ED0A9FC634AF}"/>
              </a:ext>
            </a:extLst>
          </p:cNvPr>
          <p:cNvPicPr>
            <a:picLocks noChangeAspect="1"/>
          </p:cNvPicPr>
          <p:nvPr/>
        </p:nvPicPr>
        <p:blipFill>
          <a:blip r:embed="rId2"/>
          <a:stretch>
            <a:fillRect/>
          </a:stretch>
        </p:blipFill>
        <p:spPr>
          <a:xfrm>
            <a:off x="2133501" y="4781799"/>
            <a:ext cx="7744772" cy="1216134"/>
          </a:xfrm>
          <a:prstGeom prst="rect">
            <a:avLst/>
          </a:prstGeom>
          <a:ln w="38100">
            <a:solidFill>
              <a:schemeClr val="accent1">
                <a:shade val="50000"/>
              </a:schemeClr>
            </a:solidFill>
          </a:ln>
        </p:spPr>
      </p:pic>
      <p:sp>
        <p:nvSpPr>
          <p:cNvPr id="11" name="Oval 10">
            <a:extLst>
              <a:ext uri="{FF2B5EF4-FFF2-40B4-BE49-F238E27FC236}">
                <a16:creationId xmlns:a16="http://schemas.microsoft.com/office/drawing/2014/main" id="{75005B60-C63B-6524-E6E1-D01B45312646}"/>
              </a:ext>
            </a:extLst>
          </p:cNvPr>
          <p:cNvSpPr/>
          <p:nvPr/>
        </p:nvSpPr>
        <p:spPr>
          <a:xfrm>
            <a:off x="7625228" y="5383658"/>
            <a:ext cx="1159175" cy="37888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7">
            <a:extLst>
              <a:ext uri="{FF2B5EF4-FFF2-40B4-BE49-F238E27FC236}">
                <a16:creationId xmlns:a16="http://schemas.microsoft.com/office/drawing/2014/main" id="{601F6AD3-A818-8483-C3C2-C7C34E4D2925}"/>
              </a:ext>
            </a:extLst>
          </p:cNvPr>
          <p:cNvPicPr>
            <a:picLocks noGrp="1" noChangeAspect="1"/>
          </p:cNvPicPr>
          <p:nvPr>
            <p:ph idx="1"/>
          </p:nvPr>
        </p:nvPicPr>
        <p:blipFill>
          <a:blip r:embed="rId3"/>
          <a:stretch>
            <a:fillRect/>
          </a:stretch>
        </p:blipFill>
        <p:spPr>
          <a:xfrm>
            <a:off x="838200" y="2491222"/>
            <a:ext cx="10515600" cy="2036472"/>
          </a:xfrm>
          <a:ln w="38100">
            <a:solidFill>
              <a:schemeClr val="accent1">
                <a:shade val="50000"/>
              </a:schemeClr>
            </a:solidFill>
          </a:ln>
        </p:spPr>
      </p:pic>
    </p:spTree>
    <p:extLst>
      <p:ext uri="{BB962C8B-B14F-4D97-AF65-F5344CB8AC3E}">
        <p14:creationId xmlns:p14="http://schemas.microsoft.com/office/powerpoint/2010/main" val="17574420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EC4BE-7275-F558-DA05-E90A92EF3F63}"/>
              </a:ext>
            </a:extLst>
          </p:cNvPr>
          <p:cNvSpPr>
            <a:spLocks noGrp="1"/>
          </p:cNvSpPr>
          <p:nvPr>
            <p:ph type="title"/>
          </p:nvPr>
        </p:nvSpPr>
        <p:spPr/>
        <p:txBody>
          <a:bodyPr/>
          <a:lstStyle/>
          <a:p>
            <a:r>
              <a:rPr lang="en-US">
                <a:cs typeface="Calibri Light"/>
              </a:rPr>
              <a:t>Section 3: Tracking All Other Expenditures</a:t>
            </a:r>
            <a:endParaRPr lang="en-US"/>
          </a:p>
        </p:txBody>
      </p:sp>
      <p:sp>
        <p:nvSpPr>
          <p:cNvPr id="3" name="Content Placeholder 2">
            <a:extLst>
              <a:ext uri="{FF2B5EF4-FFF2-40B4-BE49-F238E27FC236}">
                <a16:creationId xmlns:a16="http://schemas.microsoft.com/office/drawing/2014/main" id="{FC405514-65DD-B961-872D-D480CB8E5AE8}"/>
              </a:ext>
            </a:extLst>
          </p:cNvPr>
          <p:cNvSpPr>
            <a:spLocks noGrp="1"/>
          </p:cNvSpPr>
          <p:nvPr>
            <p:ph idx="1"/>
          </p:nvPr>
        </p:nvSpPr>
        <p:spPr/>
        <p:txBody>
          <a:bodyPr vert="horz" lIns="91440" tIns="45720" rIns="91440" bIns="45720" rtlCol="0" anchor="t">
            <a:noAutofit/>
          </a:bodyPr>
          <a:lstStyle/>
          <a:p>
            <a:r>
              <a:rPr lang="en-US" sz="3200">
                <a:cs typeface="Calibri"/>
              </a:rPr>
              <a:t>What to do if you don't balance.</a:t>
            </a:r>
          </a:p>
          <a:p>
            <a:pPr lvl="1"/>
            <a:r>
              <a:rPr lang="en-US" sz="2800">
                <a:cs typeface="Calibri"/>
              </a:rPr>
              <a:t>Use the tools mentioned in Section 2:</a:t>
            </a:r>
          </a:p>
          <a:p>
            <a:pPr lvl="2"/>
            <a:r>
              <a:rPr lang="en-US" sz="2400">
                <a:cs typeface="Calibri"/>
              </a:rPr>
              <a:t>Check the Running Balance Report</a:t>
            </a:r>
          </a:p>
          <a:p>
            <a:pPr lvl="2"/>
            <a:r>
              <a:rPr lang="en-US" sz="2400">
                <a:cs typeface="Calibri"/>
              </a:rPr>
              <a:t>Check the F20 FMS Daily Report</a:t>
            </a:r>
          </a:p>
          <a:p>
            <a:pPr lvl="1"/>
            <a:r>
              <a:rPr lang="en-US" sz="2800">
                <a:cs typeface="Calibri"/>
              </a:rPr>
              <a:t>Talk to your Purchase Card Holders – Did they do an adjustment to a purchase card order?</a:t>
            </a:r>
          </a:p>
          <a:p>
            <a:pPr lvl="1"/>
            <a:r>
              <a:rPr lang="en-US" sz="2800">
                <a:cs typeface="Calibri"/>
              </a:rPr>
              <a:t>If you can't find the discrepancy, you can also reach out to your Fiscal Office for assistance.  </a:t>
            </a:r>
          </a:p>
          <a:p>
            <a:pPr lvl="1"/>
            <a:endParaRPr lang="en-US">
              <a:cs typeface="Calibri"/>
            </a:endParaRPr>
          </a:p>
        </p:txBody>
      </p:sp>
      <p:sp>
        <p:nvSpPr>
          <p:cNvPr id="4" name="Date Placeholder 3">
            <a:extLst>
              <a:ext uri="{FF2B5EF4-FFF2-40B4-BE49-F238E27FC236}">
                <a16:creationId xmlns:a16="http://schemas.microsoft.com/office/drawing/2014/main" id="{9B69FE5D-D52D-ABFA-2012-740177EC2F3D}"/>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4C9571D0-89BF-1B2A-9926-AD61FB368045}"/>
              </a:ext>
            </a:extLst>
          </p:cNvPr>
          <p:cNvSpPr>
            <a:spLocks noGrp="1"/>
          </p:cNvSpPr>
          <p:nvPr>
            <p:ph type="sldNum" sz="quarter" idx="12"/>
          </p:nvPr>
        </p:nvSpPr>
        <p:spPr/>
        <p:txBody>
          <a:bodyPr/>
          <a:lstStyle/>
          <a:p>
            <a:fld id="{670A9334-4E67-F94F-A05E-0CE8B74A054E}" type="slidenum">
              <a:rPr lang="en-US" smtClean="0"/>
              <a:t>43</a:t>
            </a:fld>
            <a:endParaRPr lang="en-US"/>
          </a:p>
        </p:txBody>
      </p:sp>
    </p:spTree>
    <p:extLst>
      <p:ext uri="{BB962C8B-B14F-4D97-AF65-F5344CB8AC3E}">
        <p14:creationId xmlns:p14="http://schemas.microsoft.com/office/powerpoint/2010/main" val="212729824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0EC4BE-7275-F558-DA05-E90A92EF3F63}"/>
              </a:ext>
            </a:extLst>
          </p:cNvPr>
          <p:cNvSpPr>
            <a:spLocks noGrp="1"/>
          </p:cNvSpPr>
          <p:nvPr>
            <p:ph type="title"/>
          </p:nvPr>
        </p:nvSpPr>
        <p:spPr/>
        <p:txBody>
          <a:bodyPr/>
          <a:lstStyle/>
          <a:p>
            <a:r>
              <a:rPr lang="en-US">
                <a:cs typeface="Calibri Light"/>
              </a:rPr>
              <a:t>Summary</a:t>
            </a:r>
            <a:endParaRPr lang="en-US"/>
          </a:p>
        </p:txBody>
      </p:sp>
      <p:sp>
        <p:nvSpPr>
          <p:cNvPr id="3" name="Content Placeholder 2">
            <a:extLst>
              <a:ext uri="{FF2B5EF4-FFF2-40B4-BE49-F238E27FC236}">
                <a16:creationId xmlns:a16="http://schemas.microsoft.com/office/drawing/2014/main" id="{FC405514-65DD-B961-872D-D480CB8E5AE8}"/>
              </a:ext>
            </a:extLst>
          </p:cNvPr>
          <p:cNvSpPr>
            <a:spLocks noGrp="1"/>
          </p:cNvSpPr>
          <p:nvPr>
            <p:ph idx="1"/>
          </p:nvPr>
        </p:nvSpPr>
        <p:spPr/>
        <p:txBody>
          <a:bodyPr vert="horz" lIns="91440" tIns="45720" rIns="91440" bIns="45720" rtlCol="0" anchor="t">
            <a:noAutofit/>
          </a:bodyPr>
          <a:lstStyle/>
          <a:p>
            <a:r>
              <a:rPr lang="en-US" sz="3200">
                <a:cs typeface="Calibri"/>
              </a:rPr>
              <a:t>Understanding the SOA is critical to budget management.</a:t>
            </a:r>
          </a:p>
          <a:p>
            <a:r>
              <a:rPr lang="en-US" sz="3200">
                <a:cs typeface="Calibri"/>
              </a:rPr>
              <a:t>Keeping up with the SOA takes a bit of work but it allows you to see drastic changes, missing funds and most importantly where you stand overall by program and appropriation.</a:t>
            </a:r>
          </a:p>
          <a:p>
            <a:r>
              <a:rPr lang="en-US" sz="3200">
                <a:cs typeface="Calibri"/>
              </a:rPr>
              <a:t>You have to make sure you separate CY from PY so you can clean up PY.</a:t>
            </a:r>
          </a:p>
          <a:p>
            <a:pPr marL="457200" lvl="1" indent="0">
              <a:buNone/>
            </a:pPr>
            <a:endParaRPr lang="en-US">
              <a:cs typeface="Calibri"/>
            </a:endParaRPr>
          </a:p>
        </p:txBody>
      </p:sp>
      <p:sp>
        <p:nvSpPr>
          <p:cNvPr id="4" name="Date Placeholder 3">
            <a:extLst>
              <a:ext uri="{FF2B5EF4-FFF2-40B4-BE49-F238E27FC236}">
                <a16:creationId xmlns:a16="http://schemas.microsoft.com/office/drawing/2014/main" id="{9B69FE5D-D52D-ABFA-2012-740177EC2F3D}"/>
              </a:ext>
            </a:extLst>
          </p:cNvPr>
          <p:cNvSpPr>
            <a:spLocks noGrp="1"/>
          </p:cNvSpPr>
          <p:nvPr>
            <p:ph type="dt" sz="half" idx="10"/>
          </p:nvPr>
        </p:nvSpPr>
        <p:spPr/>
        <p:txBody>
          <a:bodyPr/>
          <a:lstStyle/>
          <a:p>
            <a:fld id="{C03946DA-7B17-4B8B-9018-B13D3B82D5C6}" type="datetime1">
              <a:rPr lang="en-US" smtClean="0"/>
              <a:t>12/8/2022</a:t>
            </a:fld>
            <a:endParaRPr lang="en-US"/>
          </a:p>
        </p:txBody>
      </p:sp>
      <p:sp>
        <p:nvSpPr>
          <p:cNvPr id="5" name="Slide Number Placeholder 4">
            <a:extLst>
              <a:ext uri="{FF2B5EF4-FFF2-40B4-BE49-F238E27FC236}">
                <a16:creationId xmlns:a16="http://schemas.microsoft.com/office/drawing/2014/main" id="{4C9571D0-89BF-1B2A-9926-AD61FB368045}"/>
              </a:ext>
            </a:extLst>
          </p:cNvPr>
          <p:cNvSpPr>
            <a:spLocks noGrp="1"/>
          </p:cNvSpPr>
          <p:nvPr>
            <p:ph type="sldNum" sz="quarter" idx="12"/>
          </p:nvPr>
        </p:nvSpPr>
        <p:spPr/>
        <p:txBody>
          <a:bodyPr/>
          <a:lstStyle/>
          <a:p>
            <a:fld id="{670A9334-4E67-F94F-A05E-0CE8B74A054E}" type="slidenum">
              <a:rPr lang="en-US" smtClean="0"/>
              <a:t>44</a:t>
            </a:fld>
            <a:endParaRPr lang="en-US"/>
          </a:p>
        </p:txBody>
      </p:sp>
    </p:spTree>
    <p:extLst>
      <p:ext uri="{BB962C8B-B14F-4D97-AF65-F5344CB8AC3E}">
        <p14:creationId xmlns:p14="http://schemas.microsoft.com/office/powerpoint/2010/main" val="300918141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578CE3-9797-4D69-B5B1-C4A6CE473844}"/>
              </a:ext>
            </a:extLst>
          </p:cNvPr>
          <p:cNvSpPr>
            <a:spLocks noGrp="1"/>
          </p:cNvSpPr>
          <p:nvPr>
            <p:ph type="title"/>
          </p:nvPr>
        </p:nvSpPr>
        <p:spPr/>
        <p:txBody>
          <a:bodyPr/>
          <a:lstStyle/>
          <a:p>
            <a:pPr algn="ctr"/>
            <a:r>
              <a:rPr lang="en-US"/>
              <a:t>Questions</a:t>
            </a:r>
            <a:endParaRPr lang="en-US" sz="3200"/>
          </a:p>
        </p:txBody>
      </p:sp>
      <p:pic>
        <p:nvPicPr>
          <p:cNvPr id="4" name="Graphic 3" descr="Customer review outline">
            <a:extLst>
              <a:ext uri="{FF2B5EF4-FFF2-40B4-BE49-F238E27FC236}">
                <a16:creationId xmlns:a16="http://schemas.microsoft.com/office/drawing/2014/main" id="{960AAFE5-1ED9-1FCC-8263-8968FE47203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121175" y="1353670"/>
            <a:ext cx="2844750" cy="2844750"/>
          </a:xfrm>
          <a:prstGeom prst="rect">
            <a:avLst/>
          </a:prstGeom>
        </p:spPr>
      </p:pic>
      <p:sp>
        <p:nvSpPr>
          <p:cNvPr id="3" name="Slide Number Placeholder 2">
            <a:extLst>
              <a:ext uri="{FF2B5EF4-FFF2-40B4-BE49-F238E27FC236}">
                <a16:creationId xmlns:a16="http://schemas.microsoft.com/office/drawing/2014/main" id="{BDBD2F25-5D78-41A3-B973-1159F09ED289}"/>
              </a:ext>
            </a:extLst>
          </p:cNvPr>
          <p:cNvSpPr>
            <a:spLocks noGrp="1"/>
          </p:cNvSpPr>
          <p:nvPr>
            <p:ph type="sldNum" sz="quarter" idx="12"/>
          </p:nvPr>
        </p:nvSpPr>
        <p:spPr/>
        <p:txBody>
          <a:bodyPr/>
          <a:lstStyle/>
          <a:p>
            <a:fld id="{670A9334-4E67-F94F-A05E-0CE8B74A054E}" type="slidenum">
              <a:rPr lang="en-US" smtClean="0"/>
              <a:t>45</a:t>
            </a:fld>
            <a:endParaRPr lang="en-US"/>
          </a:p>
        </p:txBody>
      </p:sp>
    </p:spTree>
    <p:extLst>
      <p:ext uri="{BB962C8B-B14F-4D97-AF65-F5344CB8AC3E}">
        <p14:creationId xmlns:p14="http://schemas.microsoft.com/office/powerpoint/2010/main" val="25272651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B859F-A0AA-4B25-BD5B-94C0B0CF5624}"/>
              </a:ext>
            </a:extLst>
          </p:cNvPr>
          <p:cNvSpPr>
            <a:spLocks noGrp="1"/>
          </p:cNvSpPr>
          <p:nvPr>
            <p:ph type="title"/>
          </p:nvPr>
        </p:nvSpPr>
        <p:spPr/>
        <p:txBody>
          <a:bodyPr/>
          <a:lstStyle/>
          <a:p>
            <a:r>
              <a:rPr lang="en-US"/>
              <a:t>Useful Resources</a:t>
            </a:r>
          </a:p>
        </p:txBody>
      </p:sp>
      <p:sp>
        <p:nvSpPr>
          <p:cNvPr id="3" name="Content Placeholder 2">
            <a:extLst>
              <a:ext uri="{FF2B5EF4-FFF2-40B4-BE49-F238E27FC236}">
                <a16:creationId xmlns:a16="http://schemas.microsoft.com/office/drawing/2014/main" id="{9C94D64E-8C18-4299-AC7A-2EA237A286DB}"/>
              </a:ext>
            </a:extLst>
          </p:cNvPr>
          <p:cNvSpPr>
            <a:spLocks noGrp="1"/>
          </p:cNvSpPr>
          <p:nvPr>
            <p:ph idx="1"/>
          </p:nvPr>
        </p:nvSpPr>
        <p:spPr>
          <a:xfrm>
            <a:off x="371475" y="1361621"/>
            <a:ext cx="11063662" cy="4351338"/>
          </a:xfrm>
        </p:spPr>
        <p:txBody>
          <a:bodyPr/>
          <a:lstStyle/>
          <a:p>
            <a:r>
              <a:rPr lang="en-US"/>
              <a:t>VSSC - </a:t>
            </a:r>
            <a:r>
              <a:rPr lang="en-US">
                <a:hlinkClick r:id="rId2"/>
              </a:rPr>
              <a:t>VSSC - VHA Support Service Center (va.gov)</a:t>
            </a:r>
            <a:endParaRPr lang="en-US"/>
          </a:p>
          <a:p>
            <a:r>
              <a:rPr lang="en-US"/>
              <a:t>AACS -</a:t>
            </a:r>
            <a:r>
              <a:rPr lang="en-US">
                <a:hlinkClick r:id="rId3"/>
              </a:rPr>
              <a:t>https://vhaarcwebaacsp2.vha.med.va.gov/AACSHome/index.jsp</a:t>
            </a:r>
            <a:endParaRPr lang="en-US"/>
          </a:p>
          <a:p>
            <a:endParaRPr lang="en-US"/>
          </a:p>
          <a:p>
            <a:endParaRPr lang="en-US"/>
          </a:p>
        </p:txBody>
      </p:sp>
      <p:sp>
        <p:nvSpPr>
          <p:cNvPr id="4" name="Slide Number Placeholder 3">
            <a:extLst>
              <a:ext uri="{FF2B5EF4-FFF2-40B4-BE49-F238E27FC236}">
                <a16:creationId xmlns:a16="http://schemas.microsoft.com/office/drawing/2014/main" id="{DA302887-256E-42D3-BDC2-FF4AF08D3EBC}"/>
              </a:ext>
            </a:extLst>
          </p:cNvPr>
          <p:cNvSpPr>
            <a:spLocks noGrp="1"/>
          </p:cNvSpPr>
          <p:nvPr>
            <p:ph type="sldNum" sz="quarter" idx="12"/>
          </p:nvPr>
        </p:nvSpPr>
        <p:spPr/>
        <p:txBody>
          <a:bodyPr/>
          <a:lstStyle/>
          <a:p>
            <a:fld id="{670A9334-4E67-F94F-A05E-0CE8B74A054E}" type="slidenum">
              <a:rPr lang="en-US" smtClean="0"/>
              <a:t>46</a:t>
            </a:fld>
            <a:endParaRPr lang="en-US"/>
          </a:p>
        </p:txBody>
      </p:sp>
    </p:spTree>
    <p:extLst>
      <p:ext uri="{BB962C8B-B14F-4D97-AF65-F5344CB8AC3E}">
        <p14:creationId xmlns:p14="http://schemas.microsoft.com/office/powerpoint/2010/main" val="11151767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262DF-BFD7-4E31-898D-A09570DA85E2}"/>
              </a:ext>
            </a:extLst>
          </p:cNvPr>
          <p:cNvSpPr>
            <a:spLocks noGrp="1"/>
          </p:cNvSpPr>
          <p:nvPr>
            <p:ph type="title"/>
          </p:nvPr>
        </p:nvSpPr>
        <p:spPr/>
        <p:txBody>
          <a:bodyPr/>
          <a:lstStyle/>
          <a:p>
            <a:r>
              <a:rPr lang="en-US"/>
              <a:t>FY 23 Appropriations Status</a:t>
            </a:r>
          </a:p>
        </p:txBody>
      </p:sp>
      <p:sp>
        <p:nvSpPr>
          <p:cNvPr id="3" name="Content Placeholder 2">
            <a:extLst>
              <a:ext uri="{FF2B5EF4-FFF2-40B4-BE49-F238E27FC236}">
                <a16:creationId xmlns:a16="http://schemas.microsoft.com/office/drawing/2014/main" id="{6E8BC0E8-283D-4790-8457-9D22EE6C6EC0}"/>
              </a:ext>
            </a:extLst>
          </p:cNvPr>
          <p:cNvSpPr>
            <a:spLocks noGrp="1"/>
          </p:cNvSpPr>
          <p:nvPr>
            <p:ph idx="1"/>
          </p:nvPr>
        </p:nvSpPr>
        <p:spPr/>
        <p:txBody>
          <a:bodyPr>
            <a:normAutofit/>
          </a:bodyPr>
          <a:lstStyle/>
          <a:p>
            <a:r>
              <a:rPr lang="en-US" sz="2400">
                <a:effectLst/>
                <a:ea typeface="Times New Roman" panose="02020603050405020304" pitchFamily="18" charset="0"/>
                <a:cs typeface="Arial" panose="020B0604020202020204" pitchFamily="34" charset="0"/>
              </a:rPr>
              <a:t>The FY 23 President’s Budget Request is </a:t>
            </a:r>
            <a:r>
              <a:rPr lang="en-US" sz="2400" b="1">
                <a:effectLst/>
                <a:ea typeface="Times New Roman" panose="02020603050405020304" pitchFamily="18" charset="0"/>
                <a:cs typeface="Arial" panose="020B0604020202020204" pitchFamily="34" charset="0"/>
              </a:rPr>
              <a:t>$916 million</a:t>
            </a:r>
            <a:r>
              <a:rPr lang="en-US" sz="2400">
                <a:effectLst/>
                <a:ea typeface="Times New Roman" panose="02020603050405020304" pitchFamily="18" charset="0"/>
                <a:cs typeface="Arial" panose="020B0604020202020204" pitchFamily="34" charset="0"/>
              </a:rPr>
              <a:t>.</a:t>
            </a:r>
          </a:p>
          <a:p>
            <a:r>
              <a:rPr lang="en-US" sz="2400">
                <a:cs typeface="Arial" panose="020B0604020202020204" pitchFamily="34" charset="0"/>
              </a:rPr>
              <a:t>Congress enacted the Continuing Resolution Act (P.L. 117-180). The CR provides funding through </a:t>
            </a:r>
            <a:r>
              <a:rPr lang="en-US" sz="2400" b="1">
                <a:cs typeface="Arial" panose="020B0604020202020204" pitchFamily="34" charset="0"/>
              </a:rPr>
              <a:t>December 16, 2022</a:t>
            </a:r>
            <a:r>
              <a:rPr lang="en-US" sz="2400">
                <a:cs typeface="Arial" panose="020B0604020202020204" pitchFamily="34" charset="0"/>
              </a:rPr>
              <a:t> at an annualized amount of $882 million (to match the FY 22 Enactment). </a:t>
            </a:r>
          </a:p>
          <a:p>
            <a:r>
              <a:rPr lang="en-US" sz="2400">
                <a:cs typeface="Arial" panose="020B0604020202020204" pitchFamily="34" charset="0"/>
              </a:rPr>
              <a:t>Congress will now attempt to either pass a full year appropriation by December 16</a:t>
            </a:r>
            <a:r>
              <a:rPr lang="en-US" sz="2400" baseline="30000">
                <a:cs typeface="Arial" panose="020B0604020202020204" pitchFamily="34" charset="0"/>
              </a:rPr>
              <a:t>th</a:t>
            </a:r>
            <a:r>
              <a:rPr lang="en-US" sz="2400">
                <a:cs typeface="Arial" panose="020B0604020202020204" pitchFamily="34" charset="0"/>
              </a:rPr>
              <a:t> </a:t>
            </a:r>
            <a:r>
              <a:rPr lang="en-US" sz="2400" b="1">
                <a:cs typeface="Arial" panose="020B0604020202020204" pitchFamily="34" charset="0"/>
              </a:rPr>
              <a:t>(less likely) </a:t>
            </a:r>
            <a:r>
              <a:rPr lang="en-US" sz="2400">
                <a:cs typeface="Arial" panose="020B0604020202020204" pitchFamily="34" charset="0"/>
              </a:rPr>
              <a:t>or extend the CR into January and into the next Congress </a:t>
            </a:r>
            <a:r>
              <a:rPr lang="en-US" sz="2400" b="1">
                <a:cs typeface="Arial" panose="020B0604020202020204" pitchFamily="34" charset="0"/>
              </a:rPr>
              <a:t>(more likely)</a:t>
            </a:r>
            <a:r>
              <a:rPr lang="en-US" sz="2400">
                <a:cs typeface="Arial" panose="020B0604020202020204" pitchFamily="34" charset="0"/>
              </a:rPr>
              <a:t>.</a:t>
            </a:r>
          </a:p>
          <a:p>
            <a:r>
              <a:rPr lang="en-US" sz="2400">
                <a:cs typeface="Arial" panose="020B0604020202020204" pitchFamily="34" charset="0"/>
              </a:rPr>
              <a:t>For reference four (4) CRs occurred in FY 22, until enactment on March 11, 2022. </a:t>
            </a:r>
          </a:p>
          <a:p>
            <a:endParaRPr lang="en-US" sz="2400">
              <a:ea typeface="Times New Roman" panose="02020603050405020304" pitchFamily="18" charset="0"/>
              <a:cs typeface="Arial" panose="020B0604020202020204" pitchFamily="34" charset="0"/>
            </a:endParaRPr>
          </a:p>
          <a:p>
            <a:pPr marL="457200" lvl="1" indent="0">
              <a:buNone/>
            </a:pPr>
            <a:endParaRPr lang="en-US" sz="2200">
              <a:effectLst/>
              <a:ea typeface="Times New Roman" panose="02020603050405020304" pitchFamily="18" charset="0"/>
              <a:cs typeface="Arial" panose="020B0604020202020204" pitchFamily="34" charset="0"/>
            </a:endParaRPr>
          </a:p>
        </p:txBody>
      </p:sp>
      <p:sp>
        <p:nvSpPr>
          <p:cNvPr id="4" name="Slide Number Placeholder 3">
            <a:extLst>
              <a:ext uri="{FF2B5EF4-FFF2-40B4-BE49-F238E27FC236}">
                <a16:creationId xmlns:a16="http://schemas.microsoft.com/office/drawing/2014/main" id="{FA055931-F4CE-4E72-9140-36EA1009005A}"/>
              </a:ext>
            </a:extLst>
          </p:cNvPr>
          <p:cNvSpPr>
            <a:spLocks noGrp="1"/>
          </p:cNvSpPr>
          <p:nvPr>
            <p:ph type="sldNum" sz="quarter" idx="12"/>
          </p:nvPr>
        </p:nvSpPr>
        <p:spPr/>
        <p:txBody>
          <a:bodyPr/>
          <a:lstStyle/>
          <a:p>
            <a:fld id="{670A9334-4E67-F94F-A05E-0CE8B74A054E}" type="slidenum">
              <a:rPr lang="en-US" smtClean="0"/>
              <a:t>5</a:t>
            </a:fld>
            <a:endParaRPr lang="en-US"/>
          </a:p>
        </p:txBody>
      </p:sp>
      <p:sp>
        <p:nvSpPr>
          <p:cNvPr id="8" name="Rectangle 7">
            <a:extLst>
              <a:ext uri="{FF2B5EF4-FFF2-40B4-BE49-F238E27FC236}">
                <a16:creationId xmlns:a16="http://schemas.microsoft.com/office/drawing/2014/main" id="{ACD838DB-B9AC-4EAF-95D1-1AA60A7D2E29}"/>
              </a:ext>
            </a:extLst>
          </p:cNvPr>
          <p:cNvSpPr/>
          <p:nvPr/>
        </p:nvSpPr>
        <p:spPr>
          <a:xfrm>
            <a:off x="983225" y="4876380"/>
            <a:ext cx="9907197" cy="83657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Key Takeaway: Remain flexible it is likely will have a long wait for a full-year appropriation.</a:t>
            </a:r>
          </a:p>
        </p:txBody>
      </p:sp>
    </p:spTree>
    <p:extLst>
      <p:ext uri="{BB962C8B-B14F-4D97-AF65-F5344CB8AC3E}">
        <p14:creationId xmlns:p14="http://schemas.microsoft.com/office/powerpoint/2010/main" val="322550556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52757B-E46E-4A22-B5AD-38F057ABCD1B}"/>
              </a:ext>
            </a:extLst>
          </p:cNvPr>
          <p:cNvSpPr>
            <a:spLocks noGrp="1"/>
          </p:cNvSpPr>
          <p:nvPr>
            <p:ph type="title"/>
          </p:nvPr>
        </p:nvSpPr>
        <p:spPr/>
        <p:txBody>
          <a:bodyPr/>
          <a:lstStyle/>
          <a:p>
            <a:r>
              <a:rPr lang="en-US"/>
              <a:t>FY 23 Execution Status</a:t>
            </a:r>
          </a:p>
        </p:txBody>
      </p:sp>
      <p:sp>
        <p:nvSpPr>
          <p:cNvPr id="3" name="Content Placeholder 2">
            <a:extLst>
              <a:ext uri="{FF2B5EF4-FFF2-40B4-BE49-F238E27FC236}">
                <a16:creationId xmlns:a16="http://schemas.microsoft.com/office/drawing/2014/main" id="{A611C638-D842-4B14-8BD5-B5AF89D59BC8}"/>
              </a:ext>
            </a:extLst>
          </p:cNvPr>
          <p:cNvSpPr>
            <a:spLocks noGrp="1"/>
          </p:cNvSpPr>
          <p:nvPr>
            <p:ph idx="1"/>
          </p:nvPr>
        </p:nvSpPr>
        <p:spPr>
          <a:xfrm>
            <a:off x="838199" y="1133857"/>
            <a:ext cx="11018003" cy="4818857"/>
          </a:xfrm>
        </p:spPr>
        <p:txBody>
          <a:bodyPr vert="horz" lIns="91440" tIns="45720" rIns="91440" bIns="45720" rtlCol="0" anchor="t">
            <a:normAutofit/>
          </a:bodyPr>
          <a:lstStyle/>
          <a:p>
            <a:r>
              <a:rPr lang="en-US" sz="2400" b="1"/>
              <a:t>Current Year Funding:  </a:t>
            </a:r>
          </a:p>
          <a:p>
            <a:pPr lvl="1"/>
            <a:r>
              <a:rPr lang="en-US" sz="2400"/>
              <a:t>Funding has been distributed to the field (Transfer Disbursing Authority) to provide initial CR TDAs through December 16</a:t>
            </a:r>
            <a:r>
              <a:rPr lang="en-US" sz="2400" baseline="30000"/>
              <a:t>th</a:t>
            </a:r>
            <a:r>
              <a:rPr lang="en-US" sz="2400"/>
              <a:t>.</a:t>
            </a:r>
            <a:endParaRPr lang="en-US" sz="2400">
              <a:cs typeface="Calibri"/>
            </a:endParaRPr>
          </a:p>
          <a:p>
            <a:pPr lvl="1"/>
            <a:r>
              <a:rPr lang="en-US" sz="2400"/>
              <a:t>We sent out the CR Memo detailing guidance on how to execute during the CR.</a:t>
            </a:r>
            <a:r>
              <a:rPr lang="en-US"/>
              <a:t> </a:t>
            </a:r>
            <a:endParaRPr lang="en-US" sz="2400">
              <a:cs typeface="Calibri"/>
            </a:endParaRPr>
          </a:p>
          <a:p>
            <a:pPr lvl="1"/>
            <a:r>
              <a:rPr lang="en-US" sz="2400"/>
              <a:t>Sending out 1Q CC-101 - 1</a:t>
            </a:r>
            <a:r>
              <a:rPr lang="en-US" sz="2400" baseline="30000"/>
              <a:t>st</a:t>
            </a:r>
            <a:r>
              <a:rPr lang="en-US" sz="2400"/>
              <a:t> week of December.</a:t>
            </a:r>
            <a:endParaRPr lang="en-US" sz="2400">
              <a:cs typeface="Calibri"/>
            </a:endParaRPr>
          </a:p>
          <a:p>
            <a:r>
              <a:rPr lang="en-US" sz="2400" b="1"/>
              <a:t>Prior Year Funding:</a:t>
            </a:r>
            <a:endParaRPr lang="en-US" sz="2400" b="1">
              <a:cs typeface="Calibri"/>
            </a:endParaRPr>
          </a:p>
          <a:p>
            <a:pPr lvl="1"/>
            <a:r>
              <a:rPr lang="en-US" sz="2400"/>
              <a:t>The Field </a:t>
            </a:r>
            <a:r>
              <a:rPr lang="en-US"/>
              <a:t>has been</a:t>
            </a:r>
            <a:r>
              <a:rPr lang="en-US" sz="2400"/>
              <a:t> provided guidance with instructions on how to obligate all prior year funding by </a:t>
            </a:r>
            <a:r>
              <a:rPr lang="en-US" sz="2400" b="1"/>
              <a:t>1/16/23</a:t>
            </a:r>
            <a:r>
              <a:rPr lang="en-US" sz="2400"/>
              <a:t> or risk it being swept.</a:t>
            </a:r>
            <a:endParaRPr lang="en-US" sz="2400">
              <a:cs typeface="Calibri"/>
            </a:endParaRPr>
          </a:p>
          <a:p>
            <a:pPr lvl="1"/>
            <a:r>
              <a:rPr lang="en-US"/>
              <a:t>Conduct your salary cost transfers for PP21-24 as soon as possible. To date only $9.6 million has been done. Avg. payroll is about $20 million/PP. </a:t>
            </a:r>
            <a:endParaRPr lang="en-US" sz="2400">
              <a:cs typeface="Calibri"/>
            </a:endParaRPr>
          </a:p>
          <a:p>
            <a:pPr lvl="1"/>
            <a:r>
              <a:rPr lang="en-US"/>
              <a:t>Approximately $51 million available in the field.</a:t>
            </a:r>
            <a:endParaRPr lang="en-US" sz="2400">
              <a:cs typeface="Calibri"/>
            </a:endParaRPr>
          </a:p>
          <a:p>
            <a:pPr marL="457200" lvl="1" indent="0">
              <a:buNone/>
            </a:pPr>
            <a:endParaRPr lang="en-US"/>
          </a:p>
          <a:p>
            <a:pPr lvl="1"/>
            <a:endParaRPr lang="en-US" b="1"/>
          </a:p>
          <a:p>
            <a:endParaRPr lang="en-US"/>
          </a:p>
        </p:txBody>
      </p:sp>
      <p:sp>
        <p:nvSpPr>
          <p:cNvPr id="4" name="Slide Number Placeholder 3">
            <a:extLst>
              <a:ext uri="{FF2B5EF4-FFF2-40B4-BE49-F238E27FC236}">
                <a16:creationId xmlns:a16="http://schemas.microsoft.com/office/drawing/2014/main" id="{A85DD6D1-BC0A-48D0-A9B7-77AEDC8A2CC0}"/>
              </a:ext>
            </a:extLst>
          </p:cNvPr>
          <p:cNvSpPr>
            <a:spLocks noGrp="1"/>
          </p:cNvSpPr>
          <p:nvPr>
            <p:ph type="sldNum" sz="quarter" idx="12"/>
          </p:nvPr>
        </p:nvSpPr>
        <p:spPr/>
        <p:txBody>
          <a:bodyPr/>
          <a:lstStyle/>
          <a:p>
            <a:fld id="{670A9334-4E67-F94F-A05E-0CE8B74A054E}" type="slidenum">
              <a:rPr lang="en-US" smtClean="0"/>
              <a:t>6</a:t>
            </a:fld>
            <a:endParaRPr lang="en-US"/>
          </a:p>
        </p:txBody>
      </p:sp>
    </p:spTree>
    <p:extLst>
      <p:ext uri="{BB962C8B-B14F-4D97-AF65-F5344CB8AC3E}">
        <p14:creationId xmlns:p14="http://schemas.microsoft.com/office/powerpoint/2010/main" val="42376087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3D59B-FFF8-4A6E-8171-0177E4CE3997}"/>
              </a:ext>
            </a:extLst>
          </p:cNvPr>
          <p:cNvSpPr>
            <a:spLocks noGrp="1"/>
          </p:cNvSpPr>
          <p:nvPr>
            <p:ph type="title"/>
          </p:nvPr>
        </p:nvSpPr>
        <p:spPr>
          <a:xfrm>
            <a:off x="285750" y="166264"/>
            <a:ext cx="11452594" cy="618385"/>
          </a:xfrm>
        </p:spPr>
        <p:txBody>
          <a:bodyPr/>
          <a:lstStyle/>
          <a:p>
            <a:r>
              <a:rPr lang="en-US"/>
              <a:t>OGC Review (of IAAs)</a:t>
            </a:r>
          </a:p>
        </p:txBody>
      </p:sp>
      <p:sp>
        <p:nvSpPr>
          <p:cNvPr id="3" name="Content Placeholder 2">
            <a:extLst>
              <a:ext uri="{FF2B5EF4-FFF2-40B4-BE49-F238E27FC236}">
                <a16:creationId xmlns:a16="http://schemas.microsoft.com/office/drawing/2014/main" id="{3CABF32D-CD93-4ABC-B811-55FEFF5B973B}"/>
              </a:ext>
            </a:extLst>
          </p:cNvPr>
          <p:cNvSpPr>
            <a:spLocks noGrp="1"/>
          </p:cNvSpPr>
          <p:nvPr>
            <p:ph idx="1"/>
          </p:nvPr>
        </p:nvSpPr>
        <p:spPr>
          <a:xfrm>
            <a:off x="285749" y="1194063"/>
            <a:ext cx="10902807" cy="4621109"/>
          </a:xfrm>
        </p:spPr>
        <p:txBody>
          <a:bodyPr/>
          <a:lstStyle/>
          <a:p>
            <a:r>
              <a:rPr lang="en-US" sz="2400" b="1"/>
              <a:t>Procurement Law Group review is only required for assisted acquisitions (or interagency acquisitions) which generally does not apply to Research IAAs</a:t>
            </a:r>
          </a:p>
          <a:p>
            <a:pPr lvl="1"/>
            <a:r>
              <a:rPr lang="en-US" sz="2000"/>
              <a:t>Please note governing VA policy does not require legal review. See VA Financial Policy Vol. I Ch. 11a and 11b and VA Acquisition Manual M817.503 (all of which only require legal review for IAAs that happen to also constitute “interagency acquisitions”). </a:t>
            </a:r>
          </a:p>
          <a:p>
            <a:pPr lvl="1"/>
            <a:r>
              <a:rPr lang="en-US" sz="2000"/>
              <a:t>You can always opt to request a procurement law legal review even when not required: </a:t>
            </a:r>
            <a:r>
              <a:rPr lang="en-US" sz="2000" u="sng">
                <a:solidFill>
                  <a:srgbClr val="0000FF"/>
                </a:solidFill>
                <a:latin typeface="Calibri" panose="020F0502020204030204" pitchFamily="34" charset="0"/>
                <a:ea typeface="Calibri" panose="020F0502020204030204" pitchFamily="34" charset="0"/>
                <a:hlinkClick r:id="rId2"/>
              </a:rPr>
              <a:t>https://dvagov.sharepoint.com/sites/OGC-Client/offices/PRLG/Lists/Request/Pending.aspx</a:t>
            </a:r>
            <a:endParaRPr lang="en-US" sz="2800"/>
          </a:p>
          <a:p>
            <a:r>
              <a:rPr lang="en-US" sz="2400" b="1"/>
              <a:t>The OGC Special Team Advising Research (STAR) is recommended if you have any other concerns about the IAA documents, ORD can facilitate getting your IAA to the correct POC in STAR:</a:t>
            </a:r>
          </a:p>
          <a:p>
            <a:pPr lvl="1"/>
            <a:r>
              <a:rPr lang="en-US" sz="2000"/>
              <a:t>STAR will primarily review the Statement of Work. Attorneys are assigned by Region; the list of STAR Attorneys (by Region) will be provided by ORD Finance. </a:t>
            </a:r>
          </a:p>
          <a:p>
            <a:pPr lvl="1"/>
            <a:r>
              <a:rPr lang="en-US" sz="2000"/>
              <a:t>OGC Procurement Law will primarily review the Statement of Work and the 7600 A/B.</a:t>
            </a:r>
          </a:p>
          <a:p>
            <a:pPr marL="0" indent="0">
              <a:buNone/>
            </a:pPr>
            <a:r>
              <a:rPr lang="en-US" sz="2400"/>
              <a:t> </a:t>
            </a:r>
          </a:p>
          <a:p>
            <a:endParaRPr lang="en-US" sz="2400"/>
          </a:p>
        </p:txBody>
      </p:sp>
      <p:sp>
        <p:nvSpPr>
          <p:cNvPr id="4" name="Slide Number Placeholder 3">
            <a:extLst>
              <a:ext uri="{FF2B5EF4-FFF2-40B4-BE49-F238E27FC236}">
                <a16:creationId xmlns:a16="http://schemas.microsoft.com/office/drawing/2014/main" id="{A8A9D691-5FC2-48F0-8007-854F1D85317D}"/>
              </a:ext>
            </a:extLst>
          </p:cNvPr>
          <p:cNvSpPr>
            <a:spLocks noGrp="1"/>
          </p:cNvSpPr>
          <p:nvPr>
            <p:ph type="sldNum" sz="quarter" idx="12"/>
          </p:nvPr>
        </p:nvSpPr>
        <p:spPr/>
        <p:txBody>
          <a:bodyPr/>
          <a:lstStyle/>
          <a:p>
            <a:fld id="{670A9334-4E67-F94F-A05E-0CE8B74A054E}" type="slidenum">
              <a:rPr lang="en-US" smtClean="0"/>
              <a:t>7</a:t>
            </a:fld>
            <a:endParaRPr lang="en-US"/>
          </a:p>
        </p:txBody>
      </p:sp>
    </p:spTree>
    <p:extLst>
      <p:ext uri="{BB962C8B-B14F-4D97-AF65-F5344CB8AC3E}">
        <p14:creationId xmlns:p14="http://schemas.microsoft.com/office/powerpoint/2010/main" val="2986595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a:xfrm>
            <a:off x="285749" y="166264"/>
            <a:ext cx="11437063" cy="618385"/>
          </a:xfrm>
        </p:spPr>
        <p:txBody>
          <a:bodyPr/>
          <a:lstStyle/>
          <a:p>
            <a:r>
              <a:rPr lang="en-US"/>
              <a:t>Section 1: The Importance of the Status of Allowance (SOA)</a:t>
            </a:r>
          </a:p>
        </p:txBody>
      </p:sp>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8</a:t>
            </a:fld>
            <a:endParaRPr lang="en-US"/>
          </a:p>
        </p:txBody>
      </p:sp>
      <p:sp>
        <p:nvSpPr>
          <p:cNvPr id="11" name="Speech Bubble: Oval 10">
            <a:extLst>
              <a:ext uri="{FF2B5EF4-FFF2-40B4-BE49-F238E27FC236}">
                <a16:creationId xmlns:a16="http://schemas.microsoft.com/office/drawing/2014/main" id="{44E20599-85C8-4DAF-8298-64D9EDF0801F}"/>
              </a:ext>
            </a:extLst>
          </p:cNvPr>
          <p:cNvSpPr/>
          <p:nvPr/>
        </p:nvSpPr>
        <p:spPr>
          <a:xfrm>
            <a:off x="7191911" y="1401925"/>
            <a:ext cx="2943614" cy="1371098"/>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Track our money? What do you mean? Who can help us?</a:t>
            </a:r>
          </a:p>
        </p:txBody>
      </p:sp>
      <p:pic>
        <p:nvPicPr>
          <p:cNvPr id="7" name="Content Placeholder 6" descr="A cat lying on a bed&#10;&#10;Description automatically generated with medium confidence">
            <a:extLst>
              <a:ext uri="{FF2B5EF4-FFF2-40B4-BE49-F238E27FC236}">
                <a16:creationId xmlns:a16="http://schemas.microsoft.com/office/drawing/2014/main" id="{3A761AE4-B285-4626-B17C-846942584484}"/>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3975191" y="1466590"/>
            <a:ext cx="2943614" cy="3924819"/>
          </a:xfrm>
        </p:spPr>
      </p:pic>
    </p:spTree>
    <p:extLst>
      <p:ext uri="{BB962C8B-B14F-4D97-AF65-F5344CB8AC3E}">
        <p14:creationId xmlns:p14="http://schemas.microsoft.com/office/powerpoint/2010/main" val="22067909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12734"/>
            <a:ext cx="10867655" cy="701458"/>
          </a:xfrm>
        </p:spPr>
        <p:txBody>
          <a:bodyPr/>
          <a:lstStyle/>
          <a:p>
            <a:r>
              <a:rPr lang="en-US"/>
              <a:t>Section 1: Key Terms </a:t>
            </a:r>
          </a:p>
        </p:txBody>
      </p:sp>
      <p:sp>
        <p:nvSpPr>
          <p:cNvPr id="7" name="Content Placeholder 6">
            <a:extLst>
              <a:ext uri="{FF2B5EF4-FFF2-40B4-BE49-F238E27FC236}">
                <a16:creationId xmlns:a16="http://schemas.microsoft.com/office/drawing/2014/main" id="{07B662CD-9797-375C-2B4D-06A9D61C4D00}"/>
              </a:ext>
            </a:extLst>
          </p:cNvPr>
          <p:cNvSpPr>
            <a:spLocks noGrp="1"/>
          </p:cNvSpPr>
          <p:nvPr>
            <p:ph idx="1"/>
          </p:nvPr>
        </p:nvSpPr>
        <p:spPr>
          <a:xfrm>
            <a:off x="275573" y="917531"/>
            <a:ext cx="11774466" cy="5022937"/>
          </a:xfrm>
        </p:spPr>
        <p:txBody>
          <a:bodyPr/>
          <a:lstStyle/>
          <a:p>
            <a:pPr marL="0" indent="0">
              <a:buNone/>
            </a:pPr>
            <a:r>
              <a:rPr lang="en-US" sz="2000"/>
              <a:t> </a:t>
            </a:r>
            <a:endParaRPr lang="en-US" sz="1800"/>
          </a:p>
        </p:txBody>
      </p:sp>
      <p:graphicFrame>
        <p:nvGraphicFramePr>
          <p:cNvPr id="5" name="Table 5">
            <a:extLst>
              <a:ext uri="{FF2B5EF4-FFF2-40B4-BE49-F238E27FC236}">
                <a16:creationId xmlns:a16="http://schemas.microsoft.com/office/drawing/2014/main" id="{AE3181CE-B923-4F2A-A718-AF3489C4EA1E}"/>
              </a:ext>
            </a:extLst>
          </p:cNvPr>
          <p:cNvGraphicFramePr>
            <a:graphicFrameLocks noGrp="1"/>
          </p:cNvGraphicFramePr>
          <p:nvPr>
            <p:extLst>
              <p:ext uri="{D42A27DB-BD31-4B8C-83A1-F6EECF244321}">
                <p14:modId xmlns:p14="http://schemas.microsoft.com/office/powerpoint/2010/main" val="2896949519"/>
              </p:ext>
            </p:extLst>
          </p:nvPr>
        </p:nvGraphicFramePr>
        <p:xfrm>
          <a:off x="275573" y="1041762"/>
          <a:ext cx="11613773" cy="4774474"/>
        </p:xfrm>
        <a:graphic>
          <a:graphicData uri="http://schemas.openxmlformats.org/drawingml/2006/table">
            <a:tbl>
              <a:tblPr firstRow="1" bandRow="1">
                <a:tableStyleId>{5C22544A-7EE6-4342-B048-85BDC9FD1C3A}</a:tableStyleId>
              </a:tblPr>
              <a:tblGrid>
                <a:gridCol w="2447636">
                  <a:extLst>
                    <a:ext uri="{9D8B030D-6E8A-4147-A177-3AD203B41FA5}">
                      <a16:colId xmlns:a16="http://schemas.microsoft.com/office/drawing/2014/main" val="3611433325"/>
                    </a:ext>
                  </a:extLst>
                </a:gridCol>
                <a:gridCol w="9166137">
                  <a:extLst>
                    <a:ext uri="{9D8B030D-6E8A-4147-A177-3AD203B41FA5}">
                      <a16:colId xmlns:a16="http://schemas.microsoft.com/office/drawing/2014/main" val="3341286332"/>
                    </a:ext>
                  </a:extLst>
                </a:gridCol>
              </a:tblGrid>
              <a:tr h="330274">
                <a:tc>
                  <a:txBody>
                    <a:bodyPr/>
                    <a:lstStyle/>
                    <a:p>
                      <a:r>
                        <a:rPr lang="en-US"/>
                        <a:t>Term </a:t>
                      </a:r>
                    </a:p>
                  </a:txBody>
                  <a:tcPr/>
                </a:tc>
                <a:tc>
                  <a:txBody>
                    <a:bodyPr/>
                    <a:lstStyle/>
                    <a:p>
                      <a:r>
                        <a:rPr lang="en-US"/>
                        <a:t>Definition</a:t>
                      </a:r>
                    </a:p>
                  </a:txBody>
                  <a:tcPr/>
                </a:tc>
                <a:extLst>
                  <a:ext uri="{0D108BD9-81ED-4DB2-BD59-A6C34878D82A}">
                    <a16:rowId xmlns:a16="http://schemas.microsoft.com/office/drawing/2014/main" val="3330296025"/>
                  </a:ext>
                </a:extLst>
              </a:tr>
              <a:tr h="396328">
                <a:tc>
                  <a:txBody>
                    <a:bodyPr/>
                    <a:lstStyle/>
                    <a:p>
                      <a:r>
                        <a:rPr lang="en-US" sz="1400" b="1"/>
                        <a:t>Status of Allowance</a:t>
                      </a:r>
                      <a:endParaRPr lang="en-US" sz="1400"/>
                    </a:p>
                  </a:txBody>
                  <a:tcPr/>
                </a:tc>
                <a:tc>
                  <a:txBody>
                    <a:bodyPr/>
                    <a:lstStyle/>
                    <a:p>
                      <a:r>
                        <a:rPr lang="en-US" sz="1400" kern="1200">
                          <a:solidFill>
                            <a:schemeClr val="dk1"/>
                          </a:solidFill>
                          <a:latin typeface="+mn-lt"/>
                          <a:ea typeface="+mn-ea"/>
                          <a:cs typeface="+mn-cs"/>
                        </a:rPr>
                        <a:t>Report provided by Fiscal or within VSSC that gives you total Ceiling, total Obligations and  Current Balance information for each program and fund control point (ACC) by Fiscal year.  </a:t>
                      </a:r>
                    </a:p>
                  </a:txBody>
                  <a:tcPr/>
                </a:tc>
                <a:extLst>
                  <a:ext uri="{0D108BD9-81ED-4DB2-BD59-A6C34878D82A}">
                    <a16:rowId xmlns:a16="http://schemas.microsoft.com/office/drawing/2014/main" val="2244034406"/>
                  </a:ext>
                </a:extLst>
              </a:tr>
              <a:tr h="875226">
                <a:tc>
                  <a:txBody>
                    <a:bodyPr/>
                    <a:lstStyle/>
                    <a:p>
                      <a:r>
                        <a:rPr lang="en-US" sz="1400" b="1"/>
                        <a:t>Committed Expenditures</a:t>
                      </a:r>
                    </a:p>
                  </a:txBody>
                  <a:tcPr/>
                </a:tc>
                <a:tc>
                  <a:txBody>
                    <a:bodyPr/>
                    <a:lstStyle/>
                    <a:p>
                      <a:r>
                        <a:rPr lang="en-US" sz="1400" kern="1200">
                          <a:solidFill>
                            <a:schemeClr val="dk1"/>
                          </a:solidFill>
                          <a:latin typeface="+mn-lt"/>
                          <a:ea typeface="+mn-ea"/>
                          <a:cs typeface="+mn-cs"/>
                        </a:rPr>
                        <a:t>Orders that have been placed in VISTA that have received a transaction number but have not yet been obligated or in the case of Purchase Cards, reconciled and approved)</a:t>
                      </a:r>
                    </a:p>
                    <a:p>
                      <a:endParaRPr lang="en-US" sz="1400"/>
                    </a:p>
                  </a:txBody>
                  <a:tcPr/>
                </a:tc>
                <a:extLst>
                  <a:ext uri="{0D108BD9-81ED-4DB2-BD59-A6C34878D82A}">
                    <a16:rowId xmlns:a16="http://schemas.microsoft.com/office/drawing/2014/main" val="2351363432"/>
                  </a:ext>
                </a:extLst>
              </a:tr>
              <a:tr h="875226">
                <a:tc>
                  <a:txBody>
                    <a:bodyPr/>
                    <a:lstStyle/>
                    <a:p>
                      <a:r>
                        <a:rPr lang="en-US" sz="1400" b="1"/>
                        <a:t>PAID </a:t>
                      </a:r>
                      <a:endParaRPr lang="en-US" sz="14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kern="1200">
                          <a:solidFill>
                            <a:schemeClr val="dk1"/>
                          </a:solidFill>
                          <a:effectLst/>
                          <a:latin typeface="+mn-lt"/>
                          <a:ea typeface="+mn-ea"/>
                          <a:cs typeface="+mn-cs"/>
                        </a:rPr>
                        <a:t>Personnel and Accounting Integrated Data (PAID) System. VA’s mainframe application that supports VA HR and payroll and benefits processes. For payroll purposes, PAID is used to process data for time and attendance and current VA payroll reporting requirements. PAID is a batch-driven system with nightly data processing runs and biweekly payroll ru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0"/>
                    </a:p>
                  </a:txBody>
                  <a:tcPr/>
                </a:tc>
                <a:extLst>
                  <a:ext uri="{0D108BD9-81ED-4DB2-BD59-A6C34878D82A}">
                    <a16:rowId xmlns:a16="http://schemas.microsoft.com/office/drawing/2014/main" val="1560213748"/>
                  </a:ext>
                </a:extLst>
              </a:tr>
              <a:tr h="677062">
                <a:tc>
                  <a:txBody>
                    <a:bodyPr/>
                    <a:lstStyle/>
                    <a:p>
                      <a:r>
                        <a:rPr lang="en-US" sz="1400" b="1"/>
                        <a:t>F20D Report</a:t>
                      </a:r>
                    </a:p>
                  </a:txBody>
                  <a:tcPr/>
                </a:tc>
                <a:tc>
                  <a:txBody>
                    <a:bodyPr/>
                    <a:lstStyle/>
                    <a:p>
                      <a:r>
                        <a:rPr lang="en-US" sz="1400" kern="1200">
                          <a:solidFill>
                            <a:schemeClr val="dk1"/>
                          </a:solidFill>
                          <a:effectLst/>
                          <a:latin typeface="+mn-lt"/>
                          <a:ea typeface="+mn-ea"/>
                          <a:cs typeface="+mn-cs"/>
                        </a:rPr>
                        <a:t>Daily Activity by Account Classification Code report:  lists all FMS activity by ACC code for a period of time in the fiscal year.</a:t>
                      </a:r>
                      <a:endParaRPr lang="en-US" sz="1400"/>
                    </a:p>
                  </a:txBody>
                  <a:tcPr/>
                </a:tc>
                <a:extLst>
                  <a:ext uri="{0D108BD9-81ED-4DB2-BD59-A6C34878D82A}">
                    <a16:rowId xmlns:a16="http://schemas.microsoft.com/office/drawing/2014/main" val="951891592"/>
                  </a:ext>
                </a:extLst>
              </a:tr>
              <a:tr h="478897">
                <a:tc>
                  <a:txBody>
                    <a:bodyPr/>
                    <a:lstStyle/>
                    <a:p>
                      <a:r>
                        <a:rPr lang="en-US" sz="1400" b="1"/>
                        <a:t>AACS - Automated Allotment Control System</a:t>
                      </a:r>
                    </a:p>
                  </a:txBody>
                  <a:tcPr/>
                </a:tc>
                <a:tc>
                  <a:txBody>
                    <a:bodyPr/>
                    <a:lstStyle/>
                    <a:p>
                      <a:r>
                        <a:rPr lang="en-US" sz="1400"/>
                        <a:t>The program in which to pull a list of TDAs, used to track the budget and allocations to Program Offices and VHA facilities.</a:t>
                      </a:r>
                    </a:p>
                  </a:txBody>
                  <a:tcPr/>
                </a:tc>
                <a:extLst>
                  <a:ext uri="{0D108BD9-81ED-4DB2-BD59-A6C34878D82A}">
                    <a16:rowId xmlns:a16="http://schemas.microsoft.com/office/drawing/2014/main" val="327668059"/>
                  </a:ext>
                </a:extLst>
              </a:tr>
              <a:tr h="875226">
                <a:tc>
                  <a:txBody>
                    <a:bodyPr/>
                    <a:lstStyle/>
                    <a:p>
                      <a:r>
                        <a:rPr lang="en-US" sz="1400" b="1"/>
                        <a:t>RAFT - Research Analysis Forecasting Tool</a:t>
                      </a:r>
                    </a:p>
                  </a:txBody>
                  <a:tcPr/>
                </a:tc>
                <a:tc>
                  <a:txBody>
                    <a:bodyPr/>
                    <a:lstStyle/>
                    <a:p>
                      <a:r>
                        <a:rPr lang="en-US" sz="1400"/>
                        <a:t>This is a web-based software program that will help track all ORD allocated funds distributed to your facility. This is where you can access your pink sheets and ITA Budget Memo.</a:t>
                      </a:r>
                    </a:p>
                  </a:txBody>
                  <a:tcPr/>
                </a:tc>
                <a:extLst>
                  <a:ext uri="{0D108BD9-81ED-4DB2-BD59-A6C34878D82A}">
                    <a16:rowId xmlns:a16="http://schemas.microsoft.com/office/drawing/2014/main" val="1854681424"/>
                  </a:ext>
                </a:extLst>
              </a:tr>
            </a:tbl>
          </a:graphicData>
        </a:graphic>
      </p:graphicFrame>
      <p:sp>
        <p:nvSpPr>
          <p:cNvPr id="6" name="Slide Number Placeholder 5">
            <a:extLst>
              <a:ext uri="{FF2B5EF4-FFF2-40B4-BE49-F238E27FC236}">
                <a16:creationId xmlns:a16="http://schemas.microsoft.com/office/drawing/2014/main" id="{10CF2FEE-2BEB-4195-A4F5-8F09D2EA406C}"/>
              </a:ext>
            </a:extLst>
          </p:cNvPr>
          <p:cNvSpPr>
            <a:spLocks noGrp="1"/>
          </p:cNvSpPr>
          <p:nvPr>
            <p:ph type="sldNum" sz="quarter" idx="12"/>
          </p:nvPr>
        </p:nvSpPr>
        <p:spPr/>
        <p:txBody>
          <a:bodyPr/>
          <a:lstStyle/>
          <a:p>
            <a:fld id="{670A9334-4E67-F94F-A05E-0CE8B74A054E}" type="slidenum">
              <a:rPr lang="en-US" smtClean="0"/>
              <a:t>9</a:t>
            </a:fld>
            <a:endParaRPr lang="en-US"/>
          </a:p>
        </p:txBody>
      </p:sp>
      <p:sp>
        <p:nvSpPr>
          <p:cNvPr id="8" name="Date Placeholder 7">
            <a:extLst>
              <a:ext uri="{FF2B5EF4-FFF2-40B4-BE49-F238E27FC236}">
                <a16:creationId xmlns:a16="http://schemas.microsoft.com/office/drawing/2014/main" id="{C065D4D9-2799-4BDE-9781-4C70735E113E}"/>
              </a:ext>
            </a:extLst>
          </p:cNvPr>
          <p:cNvSpPr>
            <a:spLocks noGrp="1"/>
          </p:cNvSpPr>
          <p:nvPr>
            <p:ph type="dt" sz="half" idx="10"/>
          </p:nvPr>
        </p:nvSpPr>
        <p:spPr/>
        <p:txBody>
          <a:bodyPr/>
          <a:lstStyle/>
          <a:p>
            <a:fld id="{9A2C21B7-5E37-411E-99A1-5DB28659920D}" type="datetime1">
              <a:rPr lang="en-US" smtClean="0"/>
              <a:t>12/8/2022</a:t>
            </a:fld>
            <a:endParaRPr lang="en-US"/>
          </a:p>
        </p:txBody>
      </p:sp>
    </p:spTree>
    <p:extLst>
      <p:ext uri="{BB962C8B-B14F-4D97-AF65-F5344CB8AC3E}">
        <p14:creationId xmlns:p14="http://schemas.microsoft.com/office/powerpoint/2010/main" val="3659216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3.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ppt/theme/themeOverride4.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19DC370A04394CAAC96DED1DC9A007" ma:contentTypeVersion="9" ma:contentTypeDescription="Create a new document." ma:contentTypeScope="" ma:versionID="b1dfd7dea68351d81719bad3885152c0">
  <xsd:schema xmlns:xsd="http://www.w3.org/2001/XMLSchema" xmlns:xs="http://www.w3.org/2001/XMLSchema" xmlns:p="http://schemas.microsoft.com/office/2006/metadata/properties" xmlns:ns1="http://schemas.microsoft.com/sharepoint/v3" xmlns:ns2="b3b97a4c-43ac-46e7-9970-904f1e1efc09" xmlns:ns3="77dce447-0566-47ff-8c07-c9b85fda5322" targetNamespace="http://schemas.microsoft.com/office/2006/metadata/properties" ma:root="true" ma:fieldsID="da2c64f9114d0dd818614521c1775716" ns1:_="" ns2:_="" ns3:_="">
    <xsd:import namespace="http://schemas.microsoft.com/sharepoint/v3"/>
    <xsd:import namespace="b3b97a4c-43ac-46e7-9970-904f1e1efc09"/>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1:_ip_UnifiedCompliancePolicyProperties" minOccurs="0"/>
                <xsd:element ref="ns1:_ip_UnifiedCompliancePolicyUIAction" minOccurs="0"/>
                <xsd:element ref="ns2:MediaLengthInSeconds" minOccurs="0"/>
                <xsd:element ref="ns2:MediaServiceAutoTag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3b97a4c-43ac-46e7-9970-904f1e1efc0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4" nillable="true" ma:displayName="Length (seconds)" ma:internalName="MediaLengthInSeconds" ma:readOnly="true">
      <xsd:simpleType>
        <xsd:restriction base="dms:Unknown"/>
      </xsd:simpleType>
    </xsd:element>
    <xsd:element name="MediaServiceAutoTags" ma:index="15" nillable="true" ma:displayName="Tags" ma:internalName="MediaServiceAutoTags"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3643F2A-DC38-445A-A10D-3268072D7680}">
  <ds:schemaRefs>
    <ds:schemaRef ds:uri="77dce447-0566-47ff-8c07-c9b85fda5322"/>
    <ds:schemaRef ds:uri="b3b97a4c-43ac-46e7-9970-904f1e1efc0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9542E42D-6BC7-4BC3-990D-D65ACB2107B6}">
  <ds:schemaRefs>
    <ds:schemaRef ds:uri="http://schemas.microsoft.com/office/infopath/2007/PartnerControls"/>
    <ds:schemaRef ds:uri="http://purl.org/dc/terms/"/>
    <ds:schemaRef ds:uri="http://schemas.microsoft.com/office/2006/documentManagement/types"/>
    <ds:schemaRef ds:uri="http://purl.org/dc/dcmitype/"/>
    <ds:schemaRef ds:uri="http://schemas.openxmlformats.org/package/2006/metadata/core-properties"/>
    <ds:schemaRef ds:uri="77dce447-0566-47ff-8c07-c9b85fda5322"/>
    <ds:schemaRef ds:uri="http://purl.org/dc/elements/1.1/"/>
    <ds:schemaRef ds:uri="http://schemas.microsoft.com/office/2006/metadata/properties"/>
    <ds:schemaRef ds:uri="b3b97a4c-43ac-46e7-9970-904f1e1efc09"/>
    <ds:schemaRef ds:uri="http://schemas.microsoft.com/sharepoint/v3"/>
    <ds:schemaRef ds:uri="http://www.w3.org/XML/1998/namespace"/>
  </ds:schemaRefs>
</ds:datastoreItem>
</file>

<file path=customXml/itemProps3.xml><?xml version="1.0" encoding="utf-8"?>
<ds:datastoreItem xmlns:ds="http://schemas.openxmlformats.org/officeDocument/2006/customXml" ds:itemID="{0A388153-3CA4-48FB-ACBB-84DEAD6B088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3717</Words>
  <Application>Microsoft Office PowerPoint</Application>
  <PresentationFormat>Widescreen</PresentationFormat>
  <Paragraphs>345</Paragraphs>
  <Slides>46</Slides>
  <Notes>9</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3" baseType="lpstr">
      <vt:lpstr>Arial</vt:lpstr>
      <vt:lpstr>Bradley Hand ITC</vt:lpstr>
      <vt:lpstr>Calibri</vt:lpstr>
      <vt:lpstr>Calibri Light</vt:lpstr>
      <vt:lpstr>Wingdings</vt:lpstr>
      <vt:lpstr>1_Office Theme</vt:lpstr>
      <vt:lpstr>think-cell Slide</vt:lpstr>
      <vt:lpstr>PowerPoint Presentation</vt:lpstr>
      <vt:lpstr>PowerPoint Presentation</vt:lpstr>
      <vt:lpstr>Objectives – for today’s training</vt:lpstr>
      <vt:lpstr>Introduction: FY 23 Appropriation Status and Update on the Continuing Resolution</vt:lpstr>
      <vt:lpstr>FY 23 Appropriations Status</vt:lpstr>
      <vt:lpstr>FY 23 Execution Status</vt:lpstr>
      <vt:lpstr>OGC Review (of IAAs)</vt:lpstr>
      <vt:lpstr>Section 1: The Importance of the Status of Allowance (SOA)</vt:lpstr>
      <vt:lpstr>Section 1: Key Terms </vt:lpstr>
      <vt:lpstr>Section 1: The impact of different activities on the SOA</vt:lpstr>
      <vt:lpstr>PowerPoint Presentation</vt:lpstr>
      <vt:lpstr>PowerPoint Presentation</vt:lpstr>
      <vt:lpstr>PowerPoint Presentation</vt:lpstr>
      <vt:lpstr>Section 2: Where can I find the SOA?</vt:lpstr>
      <vt:lpstr>Section 2: What are the differences in VSSC and Budget?</vt:lpstr>
      <vt:lpstr>Section 2: Using VSSC </vt:lpstr>
      <vt:lpstr>Section 2: Using VSSC</vt:lpstr>
      <vt:lpstr>Section 2: Using VSSC</vt:lpstr>
      <vt:lpstr>Section 2: Using VSSC</vt:lpstr>
      <vt:lpstr>Section 2: Using VSSC</vt:lpstr>
      <vt:lpstr>Section 2: Using Budget SOA</vt:lpstr>
      <vt:lpstr>Section 2: What other tools are available</vt:lpstr>
      <vt:lpstr>Section 2: Types of RAFT</vt:lpstr>
      <vt:lpstr>Section 2: Running Balance</vt:lpstr>
      <vt:lpstr>Section 2: Running Balance</vt:lpstr>
      <vt:lpstr>Section 2: Running Balance</vt:lpstr>
      <vt:lpstr>Section 2: Running Balance</vt:lpstr>
      <vt:lpstr>Section 2: Running Balance</vt:lpstr>
      <vt:lpstr>Section 2: F20D</vt:lpstr>
      <vt:lpstr>Section 2: F20</vt:lpstr>
      <vt:lpstr>Section 2: Open Purchase Card Menu</vt:lpstr>
      <vt:lpstr>Section 2: Open Purchase Card Menu</vt:lpstr>
      <vt:lpstr>Section 3: Balancing</vt:lpstr>
      <vt:lpstr>Section 3: Balancing Ceilings</vt:lpstr>
      <vt:lpstr>Section 3: Balancing Ceilings</vt:lpstr>
      <vt:lpstr>Section 3: Tracking Salaries</vt:lpstr>
      <vt:lpstr>Section 3: Tracking Salaries</vt:lpstr>
      <vt:lpstr>Section 3: Tracking Salaries</vt:lpstr>
      <vt:lpstr>Section 3: Tracking Salaries</vt:lpstr>
      <vt:lpstr>Section 3: Tracking All Other Expenditures</vt:lpstr>
      <vt:lpstr>Section 3: Tracking All Other Expenditures</vt:lpstr>
      <vt:lpstr>Section 3: Tracking All Other Expenditures</vt:lpstr>
      <vt:lpstr>Section 3: Tracking All Other Expenditures</vt:lpstr>
      <vt:lpstr>Summary</vt:lpstr>
      <vt:lpstr>Questions</vt:lpstr>
      <vt:lpstr>Useful Resour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derstanding and Balancing the Status of Allowance</dc:title>
  <dc:subject>Understanding and Balancing the Status of Allowance</dc:subject>
  <dc:creator>VA ORD</dc:creator>
  <cp:keywords>Understanding and Balancing the Status of Allowance</cp:keywords>
  <cp:lastModifiedBy>Rivera, Portia T</cp:lastModifiedBy>
  <cp:revision>2</cp:revision>
  <dcterms:created xsi:type="dcterms:W3CDTF">2022-08-16T02:13:30Z</dcterms:created>
  <dcterms:modified xsi:type="dcterms:W3CDTF">2022-12-08T13:49: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9DC370A04394CAAC96DED1DC9A007</vt:lpwstr>
  </property>
  <property fmtid="{D5CDD505-2E9C-101B-9397-08002B2CF9AE}" pid="3" name="MediaServiceImageTags">
    <vt:lpwstr/>
  </property>
</Properties>
</file>